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1041" r:id="rId2"/>
    <p:sldId id="2145706225" r:id="rId3"/>
    <p:sldId id="2145706259" r:id="rId4"/>
    <p:sldId id="2145706275" r:id="rId5"/>
    <p:sldId id="2145706226" r:id="rId6"/>
    <p:sldId id="2145706246" r:id="rId7"/>
    <p:sldId id="2145706287" r:id="rId8"/>
    <p:sldId id="2145706288" r:id="rId9"/>
    <p:sldId id="2145706289" r:id="rId10"/>
    <p:sldId id="2145706247" r:id="rId11"/>
    <p:sldId id="2145706248" r:id="rId12"/>
    <p:sldId id="2145706282" r:id="rId13"/>
    <p:sldId id="2145706283" r:id="rId1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ABAB"/>
    <a:srgbClr val="272B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03" autoAdjust="0"/>
    <p:restoredTop sz="91695" autoAdjust="0"/>
  </p:normalViewPr>
  <p:slideViewPr>
    <p:cSldViewPr snapToGrid="0">
      <p:cViewPr varScale="1">
        <p:scale>
          <a:sx n="103" d="100"/>
          <a:sy n="103" d="100"/>
        </p:scale>
        <p:origin x="768" y="114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089569160997734E-2"/>
          <c:y val="3.2089852607709753E-2"/>
          <c:w val="0.9358205782312925"/>
          <c:h val="0.9358205782312925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 w="2857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00B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7078-4526-9CAC-793690511593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7078-4526-9CAC-793690511593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7078-4526-9CAC-793690511593}"/>
              </c:ext>
            </c:extLst>
          </c:dPt>
          <c:dPt>
            <c:idx val="3"/>
            <c:bubble3D val="0"/>
            <c:spPr>
              <a:solidFill>
                <a:srgbClr val="92D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7078-4526-9CAC-793690511593}"/>
              </c:ext>
            </c:extLst>
          </c:dPt>
          <c:cat>
            <c:strRef>
              <c:f>Tabelle1!$A$2:$A$5</c:f>
              <c:strCache>
                <c:ptCount val="4"/>
                <c:pt idx="0">
                  <c:v>Realtime</c:v>
                </c:pt>
                <c:pt idx="1">
                  <c:v>Replay</c:v>
                </c:pt>
                <c:pt idx="2">
                  <c:v>Falls Delay</c:v>
                </c:pt>
                <c:pt idx="3">
                  <c:v>Falls Previous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7</c:v>
                </c:pt>
                <c:pt idx="1">
                  <c:v>3</c:v>
                </c:pt>
                <c:pt idx="2">
                  <c:v>11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078-4526-9CAC-7936905115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4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089569160997734E-2"/>
          <c:y val="3.2089852607709753E-2"/>
          <c:w val="0.9358205782312925"/>
          <c:h val="0.9358205782312925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 w="2857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FFF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2861-456B-B7E3-5C063004379B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2861-456B-B7E3-5C063004379B}"/>
              </c:ext>
            </c:extLst>
          </c:dPt>
          <c:dPt>
            <c:idx val="2"/>
            <c:bubble3D val="0"/>
            <c:spPr>
              <a:solidFill>
                <a:srgbClr val="92D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2861-456B-B7E3-5C063004379B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2861-456B-B7E3-5C063004379B}"/>
              </c:ext>
            </c:extLst>
          </c:dPt>
          <c:cat>
            <c:strRef>
              <c:f>Tabelle1!$A$2:$A$5</c:f>
              <c:strCache>
                <c:ptCount val="4"/>
                <c:pt idx="0">
                  <c:v>One</c:v>
                </c:pt>
                <c:pt idx="1">
                  <c:v>Two</c:v>
                </c:pt>
                <c:pt idx="2">
                  <c:v>Three</c:v>
                </c:pt>
                <c:pt idx="3">
                  <c:v>Four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3</c:v>
                </c:pt>
                <c:pt idx="1">
                  <c:v>8</c:v>
                </c:pt>
                <c:pt idx="2">
                  <c:v>6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861-456B-B7E3-5C06300437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4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E705E9-673F-4AC4-B29E-A7B26F3B8523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BC52A0-2F3F-497F-8536-39D60282E9C2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1673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4FFD1E-068C-4775-AB61-A06ECF97265E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425536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24" name="Google Shape;224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17762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4FFD1E-068C-4775-AB61-A06ECF97265E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228048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4FFD1E-068C-4775-AB61-A06ECF97265E}" type="slidenum">
              <a:rPr lang="de-CH" smtClean="0"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76153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BC52A0-2F3F-497F-8536-39D60282E9C2}" type="slidenum">
              <a:rPr lang="de-CH" smtClean="0"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784561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BC52A0-2F3F-497F-8536-39D60282E9C2}" type="slidenum">
              <a:rPr lang="de-CH" smtClean="0"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19895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BC52A0-2F3F-497F-8536-39D60282E9C2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826651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BC52A0-2F3F-497F-8536-39D60282E9C2}" type="slidenum">
              <a:rPr lang="de-CH" smtClean="0"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605637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BC52A0-2F3F-497F-8536-39D60282E9C2}" type="slidenum">
              <a:rPr lang="de-CH" smtClean="0"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685922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24" name="Google Shape;224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57486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1E4512-1D3B-4B73-B042-476E6184E8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168D7F-8149-41A1-BACA-3AE93B5EBA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31F274-2081-4043-A760-EBE78731B5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F4A492-DE76-49D9-B2D6-119D939A6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859CCC-4F98-451F-BD3B-E72AFDCA6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858223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D7D866-2D41-48BC-9DC3-7FEE77BA7C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477519-4E02-40D8-8B6A-3A512977D4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831AF6-5DD6-4C3B-B500-F46F75D542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5992F3-29F5-4955-B2D5-391EC52DB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DB107A-54F3-441F-911A-3CD57FDE6E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41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4349AB2-2AB2-43A7-8656-1622691F72C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E3361E9-F971-441C-8CE6-36B5044224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CF5765-AAA1-4EBA-9889-B58751F15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F360DF-246C-4E18-B36B-092273368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C95E4A-A865-4DAD-8AEC-EE7D584D6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59124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1199456" y="1484784"/>
            <a:ext cx="10512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 rot="16200000">
            <a:off x="-1645334" y="3392999"/>
            <a:ext cx="4105278" cy="287903"/>
          </a:xfrm>
        </p:spPr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6" y="332656"/>
            <a:ext cx="10512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005672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BBDF6-FBD2-40AF-9486-BB4A908B2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AC614F-9AF2-40AF-A811-367A6AFA5E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787B81-7873-4625-90C6-65B7D39F6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062558-7E3E-4F68-94CA-8F448DCC8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3E61FB-1357-46F5-903C-1994E98B2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9938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5FD0C7-725B-4BFF-9522-83239C8F8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7E1048-3DC5-4B9C-899F-DED6314AE2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B5DBFD-FBBF-4914-87A2-F3A61F56DE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7571A4-73D2-444B-9013-7EFE083B1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CCFB92-7142-4854-ACC6-4129F01E7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90372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36279-2318-4AD6-A5F8-75FAC2F4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D0583D-F808-46BC-A112-FEA6430F47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E9A202-30E0-43D7-8764-65A6F84FDD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2791E6B-307F-487A-ACE7-95C6B653CB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1F60B-CB79-4100-B5DF-1E9EA55C1E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93C06A-1F3A-41DA-8ED0-F1B053432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87353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E837BF-12E0-4609-8885-BA3B61207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D6F202-5F12-4652-B24C-DE18E1A337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BF7499-BB9D-474C-80E4-FBDD9AF94F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E8ABCD-03D9-487D-A401-5C46542B96B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90E7B8-775C-4651-8505-06EEF69C7C7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EE55546-7C7E-4AE1-B224-70E058A04C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A87DA8F-0A89-45FF-A3CC-8973287CFF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2A632D-9625-4B76-A006-24C009E13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000530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2A4D9-592C-47DB-A38B-6773D38A3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F8F040-BDDF-4877-8526-169F2DA14C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90B3BB-C496-4AF5-8EB6-7559F47A6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FE77DB-3A65-40BB-95CE-131D701F68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9343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86202C-9526-41D5-A80B-2DF2896778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3DB588-08C7-4A6C-AB92-AA66E93DA3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6035E7-88C8-4D96-B785-776340A7BD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81127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BC2E0B-BAAE-488E-8A9B-5E2F972818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8C22BD-ADB1-4F08-B9D6-E993F811FC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329BCF-9547-4664-BC89-023CF460CD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B46FE1-476B-4893-8CD9-264AC97F8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35B88A-2D78-46C2-BBA5-A7E4B6C778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FBCD13-0D0A-4531-9C78-280B19232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489552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382F91-0DE7-463A-B320-CFD88985B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A8FAE06-08B0-40A8-8F3E-C20E2667A7C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2DC7CF-A958-437D-97CD-D3E81DB923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C2DCF7-E5CF-40ED-9C23-5F54FB7C5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B598A1-F516-4BF3-A1DB-EFB3FD805F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DCE8FE-0171-448F-8772-43B1E4122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02618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CCDFDE9-18F4-48C4-A401-3E984B3925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17C9F2-47EC-46EF-9DAA-721B9E5EF3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B2DCEB-FFB0-4E16-B62A-C5FBA3476A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8C72CA-B967-43BF-81A8-8AE258386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D67793-ADCE-4178-B0C6-9992EC74B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75956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29.png"/><Relationship Id="rId7" Type="http://schemas.openxmlformats.org/officeDocument/2006/relationships/image" Target="../media/image31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0.png"/><Relationship Id="rId11" Type="http://schemas.openxmlformats.org/officeDocument/2006/relationships/image" Target="../media/image20.svg"/><Relationship Id="rId5" Type="http://schemas.openxmlformats.org/officeDocument/2006/relationships/image" Target="../media/image22.svg"/><Relationship Id="rId10" Type="http://schemas.openxmlformats.org/officeDocument/2006/relationships/image" Target="../media/image19.png"/><Relationship Id="rId4" Type="http://schemas.openxmlformats.org/officeDocument/2006/relationships/image" Target="../media/image21.png"/><Relationship Id="rId9" Type="http://schemas.openxmlformats.org/officeDocument/2006/relationships/image" Target="../media/image24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12.xml"/><Relationship Id="rId7" Type="http://schemas.openxmlformats.org/officeDocument/2006/relationships/hyperlink" Target="https://datatracker.ietf.org/doc/html/draft-ietf-grow-bmp-path-marking-tlv" TargetMode="Externa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hyperlink" Target="https://datatracker.ietf.org/doc/html/draft-lucente-grow-bmp-rel" TargetMode="External"/><Relationship Id="rId5" Type="http://schemas.openxmlformats.org/officeDocument/2006/relationships/hyperlink" Target="https://datatracker.ietf.org/doc/html/rfc8671" TargetMode="External"/><Relationship Id="rId4" Type="http://schemas.openxmlformats.org/officeDocument/2006/relationships/hyperlink" Target="https://datatracker.ietf.org/doc/html/draft-boucadair-nmop-rfc3535-20years-later-02#section-4.7" TargetMode="External"/><Relationship Id="rId9" Type="http://schemas.openxmlformats.org/officeDocument/2006/relationships/image" Target="../media/image22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chart" Target="../charts/char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.png"/><Relationship Id="rId18" Type="http://schemas.openxmlformats.org/officeDocument/2006/relationships/image" Target="../media/image8.png"/><Relationship Id="rId26" Type="http://schemas.openxmlformats.org/officeDocument/2006/relationships/hyperlink" Target="https://datatracker.ietf.org/doc/html/rfc9160" TargetMode="External"/><Relationship Id="rId39" Type="http://schemas.openxmlformats.org/officeDocument/2006/relationships/hyperlink" Target="https://datatracker.ietf.org/doc/html/draft-ietf-netconf-yang-notifications-versioning" TargetMode="External"/><Relationship Id="rId3" Type="http://schemas.openxmlformats.org/officeDocument/2006/relationships/tags" Target="../tags/tag3.xml"/><Relationship Id="rId21" Type="http://schemas.openxmlformats.org/officeDocument/2006/relationships/hyperlink" Target="https://datatracker.ietf.org/doc/html/draft-netana-nmop-network-anomaly-lifecycle" TargetMode="External"/><Relationship Id="rId34" Type="http://schemas.openxmlformats.org/officeDocument/2006/relationships/hyperlink" Target="https://datatracker.ietf.org/doc/html/rfc8639" TargetMode="External"/><Relationship Id="rId42" Type="http://schemas.openxmlformats.org/officeDocument/2006/relationships/hyperlink" Target="https://datatracker.ietf.org/doc/html/draft-netana-nmop-yang-message-broker-integration" TargetMode="External"/><Relationship Id="rId7" Type="http://schemas.openxmlformats.org/officeDocument/2006/relationships/tags" Target="../tags/tag7.xml"/><Relationship Id="rId12" Type="http://schemas.openxmlformats.org/officeDocument/2006/relationships/image" Target="../media/image2.svg"/><Relationship Id="rId17" Type="http://schemas.openxmlformats.org/officeDocument/2006/relationships/image" Target="../media/image7.png"/><Relationship Id="rId25" Type="http://schemas.openxmlformats.org/officeDocument/2006/relationships/hyperlink" Target="https://datatracker.ietf.org/doc/html/rfc9487" TargetMode="External"/><Relationship Id="rId33" Type="http://schemas.openxmlformats.org/officeDocument/2006/relationships/hyperlink" Target="https://datatracker.ietf.org/doc/html/draft-lucente-grow-bmp-rel" TargetMode="External"/><Relationship Id="rId38" Type="http://schemas.openxmlformats.org/officeDocument/2006/relationships/hyperlink" Target="https://datatracker.ietf.org/doc/html/draft-ahuang-netconf-notif-yang" TargetMode="External"/><Relationship Id="rId2" Type="http://schemas.openxmlformats.org/officeDocument/2006/relationships/tags" Target="../tags/tag2.xml"/><Relationship Id="rId16" Type="http://schemas.openxmlformats.org/officeDocument/2006/relationships/image" Target="../media/image6.png"/><Relationship Id="rId20" Type="http://schemas.openxmlformats.org/officeDocument/2006/relationships/hyperlink" Target="https://datatracker.ietf.org/doc/html/draft-netana-nmop-network-anomaly-semantics" TargetMode="External"/><Relationship Id="rId29" Type="http://schemas.openxmlformats.org/officeDocument/2006/relationships/hyperlink" Target="https://datatracker.ietf.org/doc/html/rfc8671" TargetMode="External"/><Relationship Id="rId41" Type="http://schemas.openxmlformats.org/officeDocument/2006/relationships/hyperlink" Target="https://datatracker.ietf.org/doc/html/draft-tgraf-netconf-yang-push-observation-time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1.png"/><Relationship Id="rId24" Type="http://schemas.openxmlformats.org/officeDocument/2006/relationships/hyperlink" Target="https://datatracker.ietf.org/doc/html/rfc7011" TargetMode="External"/><Relationship Id="rId32" Type="http://schemas.openxmlformats.org/officeDocument/2006/relationships/hyperlink" Target="https://datatracker.ietf.org/doc/html/draft-ietf-grow-bmp-path-marking-tlv" TargetMode="External"/><Relationship Id="rId37" Type="http://schemas.openxmlformats.org/officeDocument/2006/relationships/hyperlink" Target="https://datatracker.ietf.org/doc/html/draft-ietf-netconf-distributed-notif" TargetMode="External"/><Relationship Id="rId40" Type="http://schemas.openxmlformats.org/officeDocument/2006/relationships/hyperlink" Target="https://datatracker.ietf.org/doc/html/draft-tgraf-netconf-notif-sequencing" TargetMode="External"/><Relationship Id="rId5" Type="http://schemas.openxmlformats.org/officeDocument/2006/relationships/tags" Target="../tags/tag5.xml"/><Relationship Id="rId15" Type="http://schemas.openxmlformats.org/officeDocument/2006/relationships/image" Target="../media/image5.png"/><Relationship Id="rId23" Type="http://schemas.openxmlformats.org/officeDocument/2006/relationships/hyperlink" Target="https://datatracker.ietf.org/doc/html/draft-netana-nmop-network-anomaly-architecture" TargetMode="External"/><Relationship Id="rId28" Type="http://schemas.openxmlformats.org/officeDocument/2006/relationships/hyperlink" Target="https://datatracker.ietf.org/doc/html/rfc7854" TargetMode="External"/><Relationship Id="rId36" Type="http://schemas.openxmlformats.org/officeDocument/2006/relationships/hyperlink" Target="https://datatracker.ietf.org/doc/html/draft-ietf-netconf-udp-notif" TargetMode="External"/><Relationship Id="rId10" Type="http://schemas.openxmlformats.org/officeDocument/2006/relationships/notesSlide" Target="../notesSlides/notesSlide1.xml"/><Relationship Id="rId19" Type="http://schemas.openxmlformats.org/officeDocument/2006/relationships/image" Target="../media/image9.png"/><Relationship Id="rId31" Type="http://schemas.openxmlformats.org/officeDocument/2006/relationships/hyperlink" Target="https://datatracker.ietf.org/doc/html/draft-ietf-grow-bmp-tlv" TargetMode="Externa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4.png"/><Relationship Id="rId22" Type="http://schemas.openxmlformats.org/officeDocument/2006/relationships/hyperlink" Target="https://datatracker.ietf.org/doc/html/rfc8632" TargetMode="External"/><Relationship Id="rId27" Type="http://schemas.openxmlformats.org/officeDocument/2006/relationships/hyperlink" Target="https://datatracker.ietf.org/doc/html/draft-ietf-opsawg-ipfix-on-path-telemetry" TargetMode="External"/><Relationship Id="rId30" Type="http://schemas.openxmlformats.org/officeDocument/2006/relationships/hyperlink" Target="https://datatracker.ietf.org/doc/html/rfc9069" TargetMode="External"/><Relationship Id="rId35" Type="http://schemas.openxmlformats.org/officeDocument/2006/relationships/hyperlink" Target="https://datatracker.ietf.org/doc/html/rfc8641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5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10" Type="http://schemas.openxmlformats.org/officeDocument/2006/relationships/image" Target="../media/image6.png"/><Relationship Id="rId4" Type="http://schemas.openxmlformats.org/officeDocument/2006/relationships/image" Target="../media/image12.png"/><Relationship Id="rId9" Type="http://schemas.openxmlformats.org/officeDocument/2006/relationships/image" Target="../media/image17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Relationship Id="rId9" Type="http://schemas.openxmlformats.org/officeDocument/2006/relationships/image" Target="../media/image24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4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4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21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10" Type="http://schemas.openxmlformats.org/officeDocument/2006/relationships/image" Target="../media/image28.png"/><Relationship Id="rId4" Type="http://schemas.openxmlformats.org/officeDocument/2006/relationships/image" Target="../media/image22.svg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C26208B2-0D10-4C23-B2DE-372A62E98644}"/>
              </a:ext>
            </a:extLst>
          </p:cNvPr>
          <p:cNvSpPr txBox="1">
            <a:spLocks/>
          </p:cNvSpPr>
          <p:nvPr/>
        </p:nvSpPr>
        <p:spPr>
          <a:xfrm>
            <a:off x="606830" y="1365772"/>
            <a:ext cx="11395314" cy="32390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400" b="1" dirty="0"/>
              <a:t>An Architecture for a </a:t>
            </a:r>
            <a:r>
              <a:rPr lang="en-US" sz="3400" b="1" dirty="0">
                <a:solidFill>
                  <a:srgbClr val="FF0000"/>
                </a:solidFill>
              </a:rPr>
              <a:t>Network Anomaly Detection </a:t>
            </a:r>
            <a:r>
              <a:rPr lang="en-US" sz="3400" b="1" dirty="0"/>
              <a:t>Framework </a:t>
            </a:r>
            <a:br>
              <a:rPr lang="en-US" sz="3600" b="1" dirty="0"/>
            </a:br>
            <a:r>
              <a:rPr lang="en-US" sz="2800" dirty="0"/>
              <a:t>draft-netana-nmop-network-anomaly-architecture-00</a:t>
            </a:r>
          </a:p>
          <a:p>
            <a:endParaRPr lang="en-US" sz="2800" dirty="0"/>
          </a:p>
          <a:p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Motivation and architecture of a Network Anomaly Detection Framework</a:t>
            </a:r>
          </a:p>
          <a:p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	and the relationships to other documents describing</a:t>
            </a:r>
          </a:p>
          <a:p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		network symptom semantics and network incident lifecyc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D23057C-339A-4254-8994-8EB77B8B41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7892" y="6361637"/>
            <a:ext cx="414251" cy="365125"/>
          </a:xfrm>
        </p:spPr>
        <p:txBody>
          <a:bodyPr/>
          <a:lstStyle/>
          <a:p>
            <a:fld id="{FC4AC485-25DE-431E-B345-9C0A15BB7F8A}" type="slidenum">
              <a:rPr lang="de-CH" sz="2200" smtClean="0"/>
              <a:t>1</a:t>
            </a:fld>
            <a:endParaRPr lang="de-CH" sz="2200" dirty="0"/>
          </a:p>
        </p:txBody>
      </p:sp>
      <p:sp>
        <p:nvSpPr>
          <p:cNvPr id="6" name="Subtitle 4">
            <a:extLst>
              <a:ext uri="{FF2B5EF4-FFF2-40B4-BE49-F238E27FC236}">
                <a16:creationId xmlns:a16="http://schemas.microsoft.com/office/drawing/2014/main" id="{6CAA0765-1318-4A03-8F91-D3ECC43D8FA7}"/>
              </a:ext>
            </a:extLst>
          </p:cNvPr>
          <p:cNvSpPr txBox="1">
            <a:spLocks/>
          </p:cNvSpPr>
          <p:nvPr/>
        </p:nvSpPr>
        <p:spPr>
          <a:xfrm>
            <a:off x="838200" y="5290457"/>
            <a:ext cx="11163943" cy="1071179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300"/>
              </a:spcBef>
              <a:buNone/>
              <a:defRPr sz="1782"/>
            </a:pPr>
            <a:r>
              <a:rPr lang="de-CH" sz="1400" dirty="0">
                <a:latin typeface="+mj-lt"/>
              </a:rPr>
              <a:t>wanting.du@swisscom.com</a:t>
            </a:r>
            <a:br>
              <a:rPr lang="de-CH" sz="1400" dirty="0">
                <a:latin typeface="+mj-lt"/>
              </a:rPr>
            </a:br>
            <a:r>
              <a:rPr lang="de-CH" sz="1400" dirty="0">
                <a:latin typeface="+mj-lt"/>
              </a:rPr>
              <a:t>pierre.francois@insa-lyon.fr</a:t>
            </a:r>
          </a:p>
          <a:p>
            <a:pPr marL="0" indent="0" algn="r">
              <a:spcBef>
                <a:spcPts val="300"/>
              </a:spcBef>
              <a:buNone/>
              <a:defRPr sz="1782"/>
            </a:pPr>
            <a:r>
              <a:rPr lang="de-CH" sz="1400" dirty="0">
                <a:latin typeface="+mj-lt"/>
              </a:rPr>
              <a:t>thomas.graf@swisscom.com</a:t>
            </a:r>
            <a:br>
              <a:rPr lang="de-CH" sz="1400" dirty="0">
                <a:latin typeface="+mj-lt"/>
              </a:rPr>
            </a:br>
            <a:r>
              <a:rPr lang="de-CH" sz="1400" dirty="0">
                <a:latin typeface="+mj-lt"/>
              </a:rPr>
              <a:t>vincenzo.riccobene@huawei-partners.com</a:t>
            </a:r>
            <a:br>
              <a:rPr lang="de-CH" sz="1400" dirty="0">
                <a:latin typeface="+mj-lt"/>
              </a:rPr>
            </a:br>
            <a:r>
              <a:rPr lang="de-CH" sz="1400" dirty="0">
                <a:latin typeface="+mj-lt"/>
              </a:rPr>
              <a:t>alex.huang-feng@insa-lyon.fr</a:t>
            </a:r>
            <a:br>
              <a:rPr lang="de-CH" sz="1400" dirty="0">
                <a:latin typeface="+mj-lt"/>
              </a:rPr>
            </a:br>
            <a:endParaRPr lang="de-CH" sz="1400" dirty="0">
              <a:latin typeface="+mj-lt"/>
            </a:endParaRPr>
          </a:p>
          <a:p>
            <a:pPr marL="0" indent="0" algn="r">
              <a:spcBef>
                <a:spcPts val="300"/>
              </a:spcBef>
              <a:buNone/>
            </a:pPr>
            <a:r>
              <a:rPr lang="de-CH" sz="1400">
                <a:latin typeface="+mj-lt"/>
              </a:rPr>
              <a:t>25. </a:t>
            </a:r>
            <a:r>
              <a:rPr lang="de-CH" sz="1400" dirty="0" err="1">
                <a:latin typeface="+mj-lt"/>
              </a:rPr>
              <a:t>July</a:t>
            </a:r>
            <a:r>
              <a:rPr lang="de-CH" sz="1400" dirty="0">
                <a:latin typeface="+mj-lt"/>
              </a:rPr>
              <a:t> </a:t>
            </a:r>
            <a:r>
              <a:rPr lang="de-CH" sz="1400" dirty="0">
                <a:latin typeface="+mj-lt"/>
                <a:ea typeface="+mj-ea"/>
                <a:cs typeface="+mj-cs"/>
              </a:rPr>
              <a:t>2024</a:t>
            </a:r>
            <a:endParaRPr lang="de-CH" sz="1400" dirty="0">
              <a:latin typeface="+mj-lt"/>
            </a:endParaRPr>
          </a:p>
          <a:p>
            <a:pPr algn="r"/>
            <a:endParaRPr lang="de-CH" sz="2200" dirty="0"/>
          </a:p>
        </p:txBody>
      </p:sp>
    </p:spTree>
    <p:extLst>
      <p:ext uri="{BB962C8B-B14F-4D97-AF65-F5344CB8AC3E}">
        <p14:creationId xmlns:p14="http://schemas.microsoft.com/office/powerpoint/2010/main" val="35786653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024DC3B6-499C-4E15-9336-2F15A0DFB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7892" y="6361637"/>
            <a:ext cx="414251" cy="365125"/>
          </a:xfrm>
        </p:spPr>
        <p:txBody>
          <a:bodyPr/>
          <a:lstStyle/>
          <a:p>
            <a:fld id="{FC4AC485-25DE-431E-B345-9C0A15BB7F8A}" type="slidenum">
              <a:rPr lang="de-CH" sz="1400" smtClean="0"/>
              <a:t>10</a:t>
            </a:fld>
            <a:endParaRPr lang="de-CH" sz="1400" dirty="0"/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A48B1DB7-BCDC-5D18-F56D-8A1447F1B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2800" b="1" dirty="0"/>
              <a:t>Postmortem, L3 VPN Pilot Migration - Voice Over IP</a:t>
            </a:r>
            <a:br>
              <a:rPr lang="en-GB" sz="3600" dirty="0"/>
            </a:br>
            <a:r>
              <a:rPr lang="en-US" sz="2800" b="0" dirty="0">
                <a:solidFill>
                  <a:schemeClr val="bg1">
                    <a:lumMod val="65000"/>
                  </a:schemeClr>
                </a:solidFill>
              </a:rPr>
              <a:t>64497:4965 - Anomaly Detection - </a:t>
            </a:r>
            <a:r>
              <a:rPr lang="en-US" sz="2800" dirty="0">
                <a:solidFill>
                  <a:srgbClr val="FF0000"/>
                </a:solidFill>
              </a:rPr>
              <a:t>Live</a:t>
            </a:r>
            <a:endParaRPr lang="en-US" sz="2700" dirty="0">
              <a:solidFill>
                <a:srgbClr val="FF0000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33E2DBB-1A1B-01BA-4800-C20DF81677B7}"/>
              </a:ext>
            </a:extLst>
          </p:cNvPr>
          <p:cNvSpPr/>
          <p:nvPr/>
        </p:nvSpPr>
        <p:spPr>
          <a:xfrm>
            <a:off x="431214" y="6403597"/>
            <a:ext cx="701502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Cosmos Bright Lights Anomaly Detection –  64497:4965</a:t>
            </a:r>
            <a:endParaRPr lang="de-CH" sz="1500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E037323-F485-1F7D-6F0A-B550000189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6428" y="1511331"/>
            <a:ext cx="6529814" cy="4815530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E8596CB-E477-3593-DC09-8C18E2574B2C}"/>
              </a:ext>
            </a:extLst>
          </p:cNvPr>
          <p:cNvCxnSpPr>
            <a:cxnSpLocks/>
          </p:cNvCxnSpPr>
          <p:nvPr/>
        </p:nvCxnSpPr>
        <p:spPr bwMode="gray">
          <a:xfrm>
            <a:off x="1607722" y="1939448"/>
            <a:ext cx="0" cy="411798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B1A7D75-0453-EA57-77A7-8B93DC299BFC}"/>
              </a:ext>
            </a:extLst>
          </p:cNvPr>
          <p:cNvCxnSpPr>
            <a:cxnSpLocks/>
          </p:cNvCxnSpPr>
          <p:nvPr/>
        </p:nvCxnSpPr>
        <p:spPr bwMode="gray">
          <a:xfrm>
            <a:off x="5495360" y="1939448"/>
            <a:ext cx="0" cy="411798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C0B0B358-F380-1685-54B2-28156DD8C58B}"/>
              </a:ext>
            </a:extLst>
          </p:cNvPr>
          <p:cNvSpPr txBox="1">
            <a:spLocks/>
          </p:cNvSpPr>
          <p:nvPr/>
        </p:nvSpPr>
        <p:spPr bwMode="black">
          <a:xfrm>
            <a:off x="9222114" y="1565140"/>
            <a:ext cx="2802335" cy="512079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route-monitoring Update/Withdraw check recognize withdrawal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peer Down/Up check did not apply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terface Down/Up check did not recognize.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raffic Drop spike did not apply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issing Traffic check did not apply. (not fully implemented yet).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creased or decreased Flow Count did not apply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verall: 1 out of 6 checks have detected the BGP topology change. Real-time streaming implementation work in progress as expected.</a:t>
            </a:r>
          </a:p>
        </p:txBody>
      </p:sp>
      <p:pic>
        <p:nvPicPr>
          <p:cNvPr id="20" name="Grafik 8">
            <a:extLst>
              <a:ext uri="{FF2B5EF4-FFF2-40B4-BE49-F238E27FC236}">
                <a16:creationId xmlns:a16="http://schemas.microsoft.com/office/drawing/2014/main" id="{B1BD11C8-18BC-7037-EDE7-760FAF3ED1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72467" y="5659357"/>
            <a:ext cx="409069" cy="409069"/>
          </a:xfrm>
          <a:prstGeom prst="rect">
            <a:avLst/>
          </a:prstGeom>
        </p:spPr>
      </p:pic>
      <p:pic>
        <p:nvPicPr>
          <p:cNvPr id="21" name="Grafik 8">
            <a:extLst>
              <a:ext uri="{FF2B5EF4-FFF2-40B4-BE49-F238E27FC236}">
                <a16:creationId xmlns:a16="http://schemas.microsoft.com/office/drawing/2014/main" id="{8FADD8A6-5EA5-F80B-B38C-6AD008F1D6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63508" y="1532414"/>
            <a:ext cx="409069" cy="409069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8CF6195A-5D87-095E-6F02-784D55BE78A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62177" y="2354392"/>
            <a:ext cx="410400" cy="4104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275C51E-5B93-B582-DF30-56138CC1BF00}"/>
              </a:ext>
            </a:extLst>
          </p:cNvPr>
          <p:cNvSpPr txBox="1"/>
          <p:nvPr/>
        </p:nvSpPr>
        <p:spPr bwMode="gray">
          <a:xfrm>
            <a:off x="8637495" y="700818"/>
            <a:ext cx="303783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ax Concern Score: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N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Withdrawal Score: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19</a:t>
            </a:r>
            <a:endParaRPr kumimoji="0" lang="de-CH" sz="18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1CB21777-465A-0359-082D-EF78EF350F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58007" y="4881243"/>
            <a:ext cx="410400" cy="41040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76541C7C-3EAC-E11D-1BFA-AB24210F9D1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19959" y="3078758"/>
            <a:ext cx="525183" cy="525183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BE70FAB3-BF1B-C1CC-E32D-98A2BAABC77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668168" y="4262863"/>
            <a:ext cx="410400" cy="410400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2EE4C1FC-0867-2EDD-728E-DAB916AA60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57587" y="3728202"/>
            <a:ext cx="410400" cy="41040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10C3CDCC-83DF-7277-DB1E-1B0F522EFD5C}"/>
              </a:ext>
            </a:extLst>
          </p:cNvPr>
          <p:cNvSpPr/>
          <p:nvPr/>
        </p:nvSpPr>
        <p:spPr>
          <a:xfrm rot="527780">
            <a:off x="10180573" y="251995"/>
            <a:ext cx="18192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Real-Time Streaming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under Developmen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06222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024DC3B6-499C-4E15-9336-2F15A0DFB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6383" y="5985911"/>
            <a:ext cx="414251" cy="365125"/>
          </a:xfrm>
        </p:spPr>
        <p:txBody>
          <a:bodyPr/>
          <a:lstStyle/>
          <a:p>
            <a:fld id="{FC4AC485-25DE-431E-B345-9C0A15BB7F8A}" type="slidenum">
              <a:rPr lang="de-CH" sz="1400" smtClean="0"/>
              <a:t>11</a:t>
            </a:fld>
            <a:endParaRPr lang="de-CH" sz="1400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CB4FD1B-0BFE-ADCC-3401-28B9A3660A18}"/>
              </a:ext>
            </a:extLst>
          </p:cNvPr>
          <p:cNvSpPr txBox="1">
            <a:spLocks/>
          </p:cNvSpPr>
          <p:nvPr/>
        </p:nvSpPr>
        <p:spPr bwMode="black">
          <a:xfrm>
            <a:off x="984250" y="1197204"/>
            <a:ext cx="5111750" cy="755615"/>
          </a:xfrm>
          <a:prstGeom prst="rect">
            <a:avLst/>
          </a:prstGeom>
        </p:spPr>
        <p:txBody>
          <a:bodyPr lIns="0" tIns="28800" rIns="0" bIns="2880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en-US" spc="-50" dirty="0"/>
              <a:t>Postmortem</a:t>
            </a:r>
          </a:p>
          <a:p>
            <a:r>
              <a:rPr lang="en-US" spc="-50" dirty="0"/>
              <a:t>What to do next?</a:t>
            </a: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45E3698B-AA42-27BC-B206-D124A1AE89DE}"/>
              </a:ext>
            </a:extLst>
          </p:cNvPr>
          <p:cNvSpPr txBox="1">
            <a:spLocks/>
          </p:cNvSpPr>
          <p:nvPr/>
        </p:nvSpPr>
        <p:spPr bwMode="black">
          <a:xfrm>
            <a:off x="984249" y="2096430"/>
            <a:ext cx="4060692" cy="266514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upport on upcoming maintenance window with verification dashboard and active monitoring.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-&gt; Done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20827C3-9ACB-5BD9-AF5E-5FD0BA6DAA61}"/>
              </a:ext>
            </a:extLst>
          </p:cNvPr>
          <p:cNvSpPr txBox="1">
            <a:spLocks/>
          </p:cNvSpPr>
          <p:nvPr/>
        </p:nvSpPr>
        <p:spPr bwMode="black">
          <a:xfrm>
            <a:off x="6096001" y="388988"/>
            <a:ext cx="5553074" cy="1389676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hat went well?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ork in progress Cosmos Bright Lights real-time streaming Anomaly Detection BMP route-monitoring withdrawal rule detected topology change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collected metrics are consistent across multiple vendors vs. CLI show output is vendor dependent.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1155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7AFFAB9B-D3A4-9F0D-7DDA-44173D37771D}"/>
              </a:ext>
            </a:extLst>
          </p:cNvPr>
          <p:cNvSpPr txBox="1">
            <a:spLocks/>
          </p:cNvSpPr>
          <p:nvPr/>
        </p:nvSpPr>
        <p:spPr bwMode="black">
          <a:xfrm>
            <a:off x="6096000" y="2113831"/>
            <a:ext cx="5553075" cy="218188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hat could be improved?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11AAFF">
                  <a:lumMod val="75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per-peer observation timestamp should be mandatory. See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4"/>
              </a:rPr>
              <a:t>https://datatracker.ietf.org/doc/html/draft-boucadair-nmop-rfc3535-20years-later-02#section-4.7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.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-&gt; To be addressed in GROW/NMOP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11AAFF">
                  <a:lumMod val="75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per-peer header should have an export timestamp. See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4"/>
              </a:rPr>
              <a:t>https://datatracker.ietf.org/doc/html/draft-boucadair-nmop-rfc3535-20years-later-02#section-4.7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.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-&gt; To be addressed in </a:t>
            </a:r>
            <a:r>
              <a:rPr lang="en-US" sz="1300" b="1" dirty="0">
                <a:solidFill>
                  <a:srgbClr val="FF0000"/>
                </a:solidFill>
                <a:latin typeface="TheSans Swisscom Light"/>
              </a:rPr>
              <a:t>GROW/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NMOP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11AAFF">
                  <a:lumMod val="75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ith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5"/>
              </a:rPr>
              <a:t>RFC 8671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(Support for Adj-RIB-Out in BMP) path propagation could have been observed on route-reflectors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11AAFF">
                  <a:lumMod val="75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ith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6"/>
              </a:rPr>
              <a:t>draft-</a:t>
            </a:r>
            <a:r>
              <a:rPr kumimoji="0" lang="en-US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6"/>
              </a:rPr>
              <a:t>lucente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6"/>
              </a:rPr>
              <a:t>-grow-bmp-</a:t>
            </a:r>
            <a:r>
              <a:rPr kumimoji="0" lang="en-US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6"/>
              </a:rPr>
              <a:t>rel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(Logging of routing events in BMP) path drops could been observed on Inter-AS </a:t>
            </a:r>
            <a:r>
              <a:rPr lang="en-US" sz="1300" dirty="0">
                <a:solidFill>
                  <a:srgbClr val="001155"/>
                </a:solidFill>
                <a:latin typeface="TheSans Swisscom Light"/>
              </a:rPr>
              <a:t>option B ASBRs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nd route-reflectors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11AAFF">
                  <a:lumMod val="75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ith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7"/>
              </a:rPr>
              <a:t>draft-</a:t>
            </a:r>
            <a:r>
              <a:rPr kumimoji="0" lang="en-US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7"/>
              </a:rPr>
              <a:t>ietf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7"/>
              </a:rPr>
              <a:t>-grow-bmp-path-marking-</a:t>
            </a:r>
            <a:r>
              <a:rPr kumimoji="0" lang="en-US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7"/>
              </a:rPr>
              <a:t>tlv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path status changed could have been observed on Inter-AS option B ASBRs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11AAFF">
                  <a:lumMod val="75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Clarify why Juniper </a:t>
            </a:r>
            <a:r>
              <a:rPr kumimoji="0" lang="en-US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JunOS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delayed BMP export for 20 resp. 80 minutes. Due to fact that the path was still passive in the BGP RIB?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11AAFF">
                  <a:lumMod val="75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ith IPFIX (</a:t>
            </a: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deconfigured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due to PR1567039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) and support of IE90 </a:t>
            </a:r>
            <a:r>
              <a:rPr kumimoji="0" lang="en-US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ForwardingStatus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(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not supported on Juniper </a:t>
            </a: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JunOS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) forwarding drops could have been observed on Inter-AS option B ASBRs.</a:t>
            </a:r>
          </a:p>
        </p:txBody>
      </p:sp>
      <p:sp>
        <p:nvSpPr>
          <p:cNvPr id="4" name="Freeform 81">
            <a:extLst>
              <a:ext uri="{FF2B5EF4-FFF2-40B4-BE49-F238E27FC236}">
                <a16:creationId xmlns:a16="http://schemas.microsoft.com/office/drawing/2014/main" id="{75D43E75-002A-CEF2-3099-891BF5AA55A5}"/>
              </a:ext>
            </a:extLst>
          </p:cNvPr>
          <p:cNvSpPr>
            <a:spLocks noEditPoints="1"/>
          </p:cNvSpPr>
          <p:nvPr>
            <p:custDataLst>
              <p:tags r:id="rId1"/>
            </p:custDataLst>
          </p:nvPr>
        </p:nvSpPr>
        <p:spPr bwMode="black">
          <a:xfrm>
            <a:off x="5562854" y="804554"/>
            <a:ext cx="328612" cy="328612"/>
          </a:xfrm>
          <a:custGeom>
            <a:avLst/>
            <a:gdLst>
              <a:gd name="T0" fmla="*/ 68 w 88"/>
              <a:gd name="T1" fmla="*/ 36 h 88"/>
              <a:gd name="T2" fmla="*/ 64 w 88"/>
              <a:gd name="T3" fmla="*/ 40 h 88"/>
              <a:gd name="T4" fmla="*/ 56 w 88"/>
              <a:gd name="T5" fmla="*/ 40 h 88"/>
              <a:gd name="T6" fmla="*/ 56 w 88"/>
              <a:gd name="T7" fmla="*/ 48 h 88"/>
              <a:gd name="T8" fmla="*/ 52 w 88"/>
              <a:gd name="T9" fmla="*/ 52 h 88"/>
              <a:gd name="T10" fmla="*/ 48 w 88"/>
              <a:gd name="T11" fmla="*/ 48 h 88"/>
              <a:gd name="T12" fmla="*/ 48 w 88"/>
              <a:gd name="T13" fmla="*/ 40 h 88"/>
              <a:gd name="T14" fmla="*/ 40 w 88"/>
              <a:gd name="T15" fmla="*/ 40 h 88"/>
              <a:gd name="T16" fmla="*/ 36 w 88"/>
              <a:gd name="T17" fmla="*/ 36 h 88"/>
              <a:gd name="T18" fmla="*/ 40 w 88"/>
              <a:gd name="T19" fmla="*/ 32 h 88"/>
              <a:gd name="T20" fmla="*/ 48 w 88"/>
              <a:gd name="T21" fmla="*/ 32 h 88"/>
              <a:gd name="T22" fmla="*/ 48 w 88"/>
              <a:gd name="T23" fmla="*/ 24 h 88"/>
              <a:gd name="T24" fmla="*/ 52 w 88"/>
              <a:gd name="T25" fmla="*/ 20 h 88"/>
              <a:gd name="T26" fmla="*/ 56 w 88"/>
              <a:gd name="T27" fmla="*/ 24 h 88"/>
              <a:gd name="T28" fmla="*/ 56 w 88"/>
              <a:gd name="T29" fmla="*/ 32 h 88"/>
              <a:gd name="T30" fmla="*/ 64 w 88"/>
              <a:gd name="T31" fmla="*/ 32 h 88"/>
              <a:gd name="T32" fmla="*/ 68 w 88"/>
              <a:gd name="T33" fmla="*/ 36 h 88"/>
              <a:gd name="T34" fmla="*/ 88 w 88"/>
              <a:gd name="T35" fmla="*/ 36 h 88"/>
              <a:gd name="T36" fmla="*/ 52 w 88"/>
              <a:gd name="T37" fmla="*/ 72 h 88"/>
              <a:gd name="T38" fmla="*/ 30 w 88"/>
              <a:gd name="T39" fmla="*/ 64 h 88"/>
              <a:gd name="T40" fmla="*/ 7 w 88"/>
              <a:gd name="T41" fmla="*/ 87 h 88"/>
              <a:gd name="T42" fmla="*/ 1 w 88"/>
              <a:gd name="T43" fmla="*/ 87 h 88"/>
              <a:gd name="T44" fmla="*/ 1 w 88"/>
              <a:gd name="T45" fmla="*/ 81 h 88"/>
              <a:gd name="T46" fmla="*/ 24 w 88"/>
              <a:gd name="T47" fmla="*/ 58 h 88"/>
              <a:gd name="T48" fmla="*/ 16 w 88"/>
              <a:gd name="T49" fmla="*/ 36 h 88"/>
              <a:gd name="T50" fmla="*/ 52 w 88"/>
              <a:gd name="T51" fmla="*/ 0 h 88"/>
              <a:gd name="T52" fmla="*/ 88 w 88"/>
              <a:gd name="T53" fmla="*/ 36 h 88"/>
              <a:gd name="T54" fmla="*/ 80 w 88"/>
              <a:gd name="T55" fmla="*/ 36 h 88"/>
              <a:gd name="T56" fmla="*/ 52 w 88"/>
              <a:gd name="T57" fmla="*/ 8 h 88"/>
              <a:gd name="T58" fmla="*/ 24 w 88"/>
              <a:gd name="T59" fmla="*/ 36 h 88"/>
              <a:gd name="T60" fmla="*/ 52 w 88"/>
              <a:gd name="T61" fmla="*/ 64 h 88"/>
              <a:gd name="T62" fmla="*/ 80 w 88"/>
              <a:gd name="T63" fmla="*/ 36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8" h="88">
                <a:moveTo>
                  <a:pt x="68" y="36"/>
                </a:moveTo>
                <a:cubicBezTo>
                  <a:pt x="68" y="38"/>
                  <a:pt x="66" y="40"/>
                  <a:pt x="64" y="40"/>
                </a:cubicBezTo>
                <a:cubicBezTo>
                  <a:pt x="56" y="40"/>
                  <a:pt x="56" y="40"/>
                  <a:pt x="56" y="40"/>
                </a:cubicBezTo>
                <a:cubicBezTo>
                  <a:pt x="56" y="48"/>
                  <a:pt x="56" y="48"/>
                  <a:pt x="56" y="48"/>
                </a:cubicBezTo>
                <a:cubicBezTo>
                  <a:pt x="56" y="50"/>
                  <a:pt x="54" y="52"/>
                  <a:pt x="52" y="52"/>
                </a:cubicBezTo>
                <a:cubicBezTo>
                  <a:pt x="50" y="52"/>
                  <a:pt x="48" y="50"/>
                  <a:pt x="48" y="48"/>
                </a:cubicBezTo>
                <a:cubicBezTo>
                  <a:pt x="48" y="40"/>
                  <a:pt x="48" y="40"/>
                  <a:pt x="48" y="40"/>
                </a:cubicBezTo>
                <a:cubicBezTo>
                  <a:pt x="40" y="40"/>
                  <a:pt x="40" y="40"/>
                  <a:pt x="40" y="40"/>
                </a:cubicBezTo>
                <a:cubicBezTo>
                  <a:pt x="38" y="40"/>
                  <a:pt x="36" y="38"/>
                  <a:pt x="36" y="36"/>
                </a:cubicBezTo>
                <a:cubicBezTo>
                  <a:pt x="36" y="34"/>
                  <a:pt x="38" y="32"/>
                  <a:pt x="40" y="32"/>
                </a:cubicBezTo>
                <a:cubicBezTo>
                  <a:pt x="48" y="32"/>
                  <a:pt x="48" y="32"/>
                  <a:pt x="48" y="32"/>
                </a:cubicBezTo>
                <a:cubicBezTo>
                  <a:pt x="48" y="24"/>
                  <a:pt x="48" y="24"/>
                  <a:pt x="48" y="24"/>
                </a:cubicBezTo>
                <a:cubicBezTo>
                  <a:pt x="48" y="22"/>
                  <a:pt x="50" y="20"/>
                  <a:pt x="52" y="20"/>
                </a:cubicBezTo>
                <a:cubicBezTo>
                  <a:pt x="54" y="20"/>
                  <a:pt x="56" y="22"/>
                  <a:pt x="56" y="24"/>
                </a:cubicBezTo>
                <a:cubicBezTo>
                  <a:pt x="56" y="32"/>
                  <a:pt x="56" y="32"/>
                  <a:pt x="56" y="32"/>
                </a:cubicBezTo>
                <a:cubicBezTo>
                  <a:pt x="64" y="32"/>
                  <a:pt x="64" y="32"/>
                  <a:pt x="64" y="32"/>
                </a:cubicBezTo>
                <a:cubicBezTo>
                  <a:pt x="66" y="32"/>
                  <a:pt x="68" y="34"/>
                  <a:pt x="68" y="36"/>
                </a:cubicBezTo>
                <a:close/>
                <a:moveTo>
                  <a:pt x="88" y="36"/>
                </a:moveTo>
                <a:cubicBezTo>
                  <a:pt x="88" y="56"/>
                  <a:pt x="72" y="72"/>
                  <a:pt x="52" y="72"/>
                </a:cubicBezTo>
                <a:cubicBezTo>
                  <a:pt x="44" y="72"/>
                  <a:pt x="36" y="69"/>
                  <a:pt x="30" y="64"/>
                </a:cubicBezTo>
                <a:cubicBezTo>
                  <a:pt x="7" y="87"/>
                  <a:pt x="7" y="87"/>
                  <a:pt x="7" y="87"/>
                </a:cubicBezTo>
                <a:cubicBezTo>
                  <a:pt x="5" y="88"/>
                  <a:pt x="3" y="88"/>
                  <a:pt x="1" y="87"/>
                </a:cubicBezTo>
                <a:cubicBezTo>
                  <a:pt x="0" y="85"/>
                  <a:pt x="0" y="83"/>
                  <a:pt x="1" y="81"/>
                </a:cubicBezTo>
                <a:cubicBezTo>
                  <a:pt x="24" y="58"/>
                  <a:pt x="24" y="58"/>
                  <a:pt x="24" y="58"/>
                </a:cubicBezTo>
                <a:cubicBezTo>
                  <a:pt x="19" y="52"/>
                  <a:pt x="16" y="44"/>
                  <a:pt x="16" y="36"/>
                </a:cubicBezTo>
                <a:cubicBezTo>
                  <a:pt x="16" y="16"/>
                  <a:pt x="32" y="0"/>
                  <a:pt x="52" y="0"/>
                </a:cubicBezTo>
                <a:cubicBezTo>
                  <a:pt x="72" y="0"/>
                  <a:pt x="88" y="16"/>
                  <a:pt x="88" y="36"/>
                </a:cubicBezTo>
                <a:close/>
                <a:moveTo>
                  <a:pt x="80" y="36"/>
                </a:moveTo>
                <a:cubicBezTo>
                  <a:pt x="80" y="21"/>
                  <a:pt x="67" y="8"/>
                  <a:pt x="52" y="8"/>
                </a:cubicBezTo>
                <a:cubicBezTo>
                  <a:pt x="37" y="8"/>
                  <a:pt x="24" y="21"/>
                  <a:pt x="24" y="36"/>
                </a:cubicBezTo>
                <a:cubicBezTo>
                  <a:pt x="24" y="51"/>
                  <a:pt x="37" y="64"/>
                  <a:pt x="52" y="64"/>
                </a:cubicBezTo>
                <a:cubicBezTo>
                  <a:pt x="67" y="64"/>
                  <a:pt x="80" y="51"/>
                  <a:pt x="80" y="36"/>
                </a:cubicBezTo>
                <a:close/>
              </a:path>
            </a:pathLst>
          </a:custGeom>
          <a:solidFill>
            <a:srgbClr val="0EABA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EABA9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7" name="Freeform 86">
            <a:extLst>
              <a:ext uri="{FF2B5EF4-FFF2-40B4-BE49-F238E27FC236}">
                <a16:creationId xmlns:a16="http://schemas.microsoft.com/office/drawing/2014/main" id="{EDDBA991-7DE5-B570-03DC-216A0F0CC38A}"/>
              </a:ext>
            </a:extLst>
          </p:cNvPr>
          <p:cNvSpPr>
            <a:spLocks noEditPoints="1"/>
          </p:cNvSpPr>
          <p:nvPr>
            <p:custDataLst>
              <p:tags r:id="rId2"/>
            </p:custDataLst>
          </p:nvPr>
        </p:nvSpPr>
        <p:spPr bwMode="black">
          <a:xfrm>
            <a:off x="5562854" y="2579425"/>
            <a:ext cx="331787" cy="363220"/>
          </a:xfrm>
          <a:custGeom>
            <a:avLst/>
            <a:gdLst>
              <a:gd name="T0" fmla="*/ 68 w 88"/>
              <a:gd name="T1" fmla="*/ 36 h 88"/>
              <a:gd name="T2" fmla="*/ 64 w 88"/>
              <a:gd name="T3" fmla="*/ 40 h 88"/>
              <a:gd name="T4" fmla="*/ 40 w 88"/>
              <a:gd name="T5" fmla="*/ 40 h 88"/>
              <a:gd name="T6" fmla="*/ 36 w 88"/>
              <a:gd name="T7" fmla="*/ 36 h 88"/>
              <a:gd name="T8" fmla="*/ 40 w 88"/>
              <a:gd name="T9" fmla="*/ 32 h 88"/>
              <a:gd name="T10" fmla="*/ 64 w 88"/>
              <a:gd name="T11" fmla="*/ 32 h 88"/>
              <a:gd name="T12" fmla="*/ 68 w 88"/>
              <a:gd name="T13" fmla="*/ 36 h 88"/>
              <a:gd name="T14" fmla="*/ 88 w 88"/>
              <a:gd name="T15" fmla="*/ 36 h 88"/>
              <a:gd name="T16" fmla="*/ 52 w 88"/>
              <a:gd name="T17" fmla="*/ 72 h 88"/>
              <a:gd name="T18" fmla="*/ 30 w 88"/>
              <a:gd name="T19" fmla="*/ 64 h 88"/>
              <a:gd name="T20" fmla="*/ 7 w 88"/>
              <a:gd name="T21" fmla="*/ 87 h 88"/>
              <a:gd name="T22" fmla="*/ 1 w 88"/>
              <a:gd name="T23" fmla="*/ 87 h 88"/>
              <a:gd name="T24" fmla="*/ 1 w 88"/>
              <a:gd name="T25" fmla="*/ 81 h 88"/>
              <a:gd name="T26" fmla="*/ 24 w 88"/>
              <a:gd name="T27" fmla="*/ 58 h 88"/>
              <a:gd name="T28" fmla="*/ 16 w 88"/>
              <a:gd name="T29" fmla="*/ 36 h 88"/>
              <a:gd name="T30" fmla="*/ 52 w 88"/>
              <a:gd name="T31" fmla="*/ 0 h 88"/>
              <a:gd name="T32" fmla="*/ 88 w 88"/>
              <a:gd name="T33" fmla="*/ 36 h 88"/>
              <a:gd name="T34" fmla="*/ 80 w 88"/>
              <a:gd name="T35" fmla="*/ 36 h 88"/>
              <a:gd name="T36" fmla="*/ 52 w 88"/>
              <a:gd name="T37" fmla="*/ 8 h 88"/>
              <a:gd name="T38" fmla="*/ 24 w 88"/>
              <a:gd name="T39" fmla="*/ 36 h 88"/>
              <a:gd name="T40" fmla="*/ 52 w 88"/>
              <a:gd name="T41" fmla="*/ 64 h 88"/>
              <a:gd name="T42" fmla="*/ 80 w 88"/>
              <a:gd name="T43" fmla="*/ 36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88" h="88">
                <a:moveTo>
                  <a:pt x="68" y="36"/>
                </a:moveTo>
                <a:cubicBezTo>
                  <a:pt x="68" y="38"/>
                  <a:pt x="66" y="40"/>
                  <a:pt x="64" y="40"/>
                </a:cubicBezTo>
                <a:cubicBezTo>
                  <a:pt x="40" y="40"/>
                  <a:pt x="40" y="40"/>
                  <a:pt x="40" y="40"/>
                </a:cubicBezTo>
                <a:cubicBezTo>
                  <a:pt x="38" y="40"/>
                  <a:pt x="36" y="38"/>
                  <a:pt x="36" y="36"/>
                </a:cubicBezTo>
                <a:cubicBezTo>
                  <a:pt x="36" y="34"/>
                  <a:pt x="38" y="32"/>
                  <a:pt x="40" y="32"/>
                </a:cubicBezTo>
                <a:cubicBezTo>
                  <a:pt x="64" y="32"/>
                  <a:pt x="64" y="32"/>
                  <a:pt x="64" y="32"/>
                </a:cubicBezTo>
                <a:cubicBezTo>
                  <a:pt x="66" y="32"/>
                  <a:pt x="68" y="34"/>
                  <a:pt x="68" y="36"/>
                </a:cubicBezTo>
                <a:close/>
                <a:moveTo>
                  <a:pt x="88" y="36"/>
                </a:moveTo>
                <a:cubicBezTo>
                  <a:pt x="88" y="56"/>
                  <a:pt x="72" y="72"/>
                  <a:pt x="52" y="72"/>
                </a:cubicBezTo>
                <a:cubicBezTo>
                  <a:pt x="44" y="72"/>
                  <a:pt x="36" y="69"/>
                  <a:pt x="30" y="64"/>
                </a:cubicBezTo>
                <a:cubicBezTo>
                  <a:pt x="7" y="87"/>
                  <a:pt x="7" y="87"/>
                  <a:pt x="7" y="87"/>
                </a:cubicBezTo>
                <a:cubicBezTo>
                  <a:pt x="5" y="88"/>
                  <a:pt x="3" y="88"/>
                  <a:pt x="1" y="87"/>
                </a:cubicBezTo>
                <a:cubicBezTo>
                  <a:pt x="0" y="85"/>
                  <a:pt x="0" y="83"/>
                  <a:pt x="1" y="81"/>
                </a:cubicBezTo>
                <a:cubicBezTo>
                  <a:pt x="24" y="58"/>
                  <a:pt x="24" y="58"/>
                  <a:pt x="24" y="58"/>
                </a:cubicBezTo>
                <a:cubicBezTo>
                  <a:pt x="19" y="52"/>
                  <a:pt x="16" y="44"/>
                  <a:pt x="16" y="36"/>
                </a:cubicBezTo>
                <a:cubicBezTo>
                  <a:pt x="16" y="16"/>
                  <a:pt x="32" y="0"/>
                  <a:pt x="52" y="0"/>
                </a:cubicBezTo>
                <a:cubicBezTo>
                  <a:pt x="72" y="0"/>
                  <a:pt x="88" y="16"/>
                  <a:pt x="88" y="36"/>
                </a:cubicBezTo>
                <a:close/>
                <a:moveTo>
                  <a:pt x="80" y="36"/>
                </a:moveTo>
                <a:cubicBezTo>
                  <a:pt x="80" y="21"/>
                  <a:pt x="67" y="8"/>
                  <a:pt x="52" y="8"/>
                </a:cubicBezTo>
                <a:cubicBezTo>
                  <a:pt x="37" y="8"/>
                  <a:pt x="24" y="21"/>
                  <a:pt x="24" y="36"/>
                </a:cubicBezTo>
                <a:cubicBezTo>
                  <a:pt x="24" y="51"/>
                  <a:pt x="37" y="64"/>
                  <a:pt x="52" y="64"/>
                </a:cubicBezTo>
                <a:cubicBezTo>
                  <a:pt x="67" y="64"/>
                  <a:pt x="80" y="51"/>
                  <a:pt x="80" y="36"/>
                </a:cubicBezTo>
                <a:close/>
              </a:path>
            </a:pathLst>
          </a:custGeom>
          <a:solidFill>
            <a:srgbClr val="E61E6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EABA9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FC7E05E9-1679-03AD-2D45-5098030D09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29024" y="1376174"/>
            <a:ext cx="409069" cy="409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929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p9"/>
          <p:cNvSpPr txBox="1">
            <a:spLocks noGrp="1"/>
          </p:cNvSpPr>
          <p:nvPr>
            <p:ph type="sldNum" idx="12"/>
          </p:nvPr>
        </p:nvSpPr>
        <p:spPr>
          <a:xfrm>
            <a:off x="11587892" y="6361637"/>
            <a:ext cx="41425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400"/>
              <a:t>12</a:t>
            </a:fld>
            <a:endParaRPr sz="1400"/>
          </a:p>
        </p:txBody>
      </p:sp>
      <p:sp>
        <p:nvSpPr>
          <p:cNvPr id="231" name="Google Shape;231;p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 sz="2800" b="1" dirty="0">
                <a:solidFill>
                  <a:srgbClr val="FF0000"/>
                </a:solidFill>
              </a:rPr>
              <a:t>Swisscom </a:t>
            </a:r>
            <a:r>
              <a:rPr lang="en-US" sz="2800" b="1" dirty="0"/>
              <a:t>- Cosmos Bright Lights PoC Summary</a:t>
            </a:r>
            <a:br>
              <a:rPr lang="en-US" sz="3600" dirty="0"/>
            </a:br>
            <a:r>
              <a:rPr lang="en-US" sz="2700" dirty="0">
                <a:solidFill>
                  <a:srgbClr val="AEABAB"/>
                </a:solidFill>
              </a:rPr>
              <a:t>After 20 Incidents and 18 Months Time</a:t>
            </a:r>
            <a:endParaRPr sz="2700" dirty="0">
              <a:solidFill>
                <a:srgbClr val="FF0000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6649985-4213-9CB3-CD81-79D4DB248DAF}"/>
              </a:ext>
            </a:extLst>
          </p:cNvPr>
          <p:cNvSpPr/>
          <p:nvPr/>
        </p:nvSpPr>
        <p:spPr bwMode="gray">
          <a:xfrm>
            <a:off x="384041" y="4063873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4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Falls Positive due to Apache Druid delayed ingestion</a:t>
            </a:r>
          </a:p>
        </p:txBody>
      </p:sp>
      <p:cxnSp>
        <p:nvCxnSpPr>
          <p:cNvPr id="15" name="Gerade Verbindung 36">
            <a:extLst>
              <a:ext uri="{FF2B5EF4-FFF2-40B4-BE49-F238E27FC236}">
                <a16:creationId xmlns:a16="http://schemas.microsoft.com/office/drawing/2014/main" id="{CEF6A92B-B282-4279-BF45-3D3805A69CFD}"/>
              </a:ext>
            </a:extLst>
          </p:cNvPr>
          <p:cNvCxnSpPr>
            <a:cxnSpLocks/>
          </p:cNvCxnSpPr>
          <p:nvPr/>
        </p:nvCxnSpPr>
        <p:spPr bwMode="gray">
          <a:xfrm>
            <a:off x="5671317" y="4353128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41">
            <a:extLst>
              <a:ext uri="{FF2B5EF4-FFF2-40B4-BE49-F238E27FC236}">
                <a16:creationId xmlns:a16="http://schemas.microsoft.com/office/drawing/2014/main" id="{1DCCF47F-8DC3-9197-7101-4DE7468021A8}"/>
              </a:ext>
            </a:extLst>
          </p:cNvPr>
          <p:cNvCxnSpPr>
            <a:cxnSpLocks/>
          </p:cNvCxnSpPr>
          <p:nvPr/>
        </p:nvCxnSpPr>
        <p:spPr bwMode="gray">
          <a:xfrm>
            <a:off x="4886269" y="2552944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41">
            <a:extLst>
              <a:ext uri="{FF2B5EF4-FFF2-40B4-BE49-F238E27FC236}">
                <a16:creationId xmlns:a16="http://schemas.microsoft.com/office/drawing/2014/main" id="{CA870199-91A5-610F-5CB6-418A1191A95D}"/>
              </a:ext>
            </a:extLst>
          </p:cNvPr>
          <p:cNvCxnSpPr>
            <a:cxnSpLocks/>
          </p:cNvCxnSpPr>
          <p:nvPr/>
        </p:nvCxnSpPr>
        <p:spPr bwMode="gray">
          <a:xfrm>
            <a:off x="384041" y="2263689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076CE855-379A-5BE7-9E3E-05D784B2CF9D}"/>
              </a:ext>
            </a:extLst>
          </p:cNvPr>
          <p:cNvSpPr/>
          <p:nvPr/>
        </p:nvSpPr>
        <p:spPr bwMode="gray">
          <a:xfrm>
            <a:off x="384041" y="2263689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In Replay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Incident Detected</a:t>
            </a:r>
          </a:p>
        </p:txBody>
      </p:sp>
      <p:graphicFrame>
        <p:nvGraphicFramePr>
          <p:cNvPr id="19" name="Diagramm 6">
            <a:extLst>
              <a:ext uri="{FF2B5EF4-FFF2-40B4-BE49-F238E27FC236}">
                <a16:creationId xmlns:a16="http://schemas.microsoft.com/office/drawing/2014/main" id="{A546FED3-E59F-243C-BAB2-70CE2751222B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329558" y="1211721"/>
          <a:ext cx="3663559" cy="4834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Rechteck 7">
            <a:extLst>
              <a:ext uri="{FF2B5EF4-FFF2-40B4-BE49-F238E27FC236}">
                <a16:creationId xmlns:a16="http://schemas.microsoft.com/office/drawing/2014/main" id="{6DEE297B-FA92-D4CB-4DB8-B62139988C22}"/>
              </a:ext>
            </a:extLst>
          </p:cNvPr>
          <p:cNvSpPr/>
          <p:nvPr/>
        </p:nvSpPr>
        <p:spPr bwMode="gray">
          <a:xfrm>
            <a:off x="5750364" y="2552944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15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In Near Real-Time Incident Detected </a:t>
            </a:r>
          </a:p>
        </p:txBody>
      </p:sp>
      <p:sp>
        <p:nvSpPr>
          <p:cNvPr id="21" name="Rechteck 10">
            <a:extLst>
              <a:ext uri="{FF2B5EF4-FFF2-40B4-BE49-F238E27FC236}">
                <a16:creationId xmlns:a16="http://schemas.microsoft.com/office/drawing/2014/main" id="{85D4E516-F628-FE69-DA43-10B3210E9A28}"/>
              </a:ext>
            </a:extLst>
          </p:cNvPr>
          <p:cNvSpPr/>
          <p:nvPr/>
        </p:nvSpPr>
        <p:spPr bwMode="gray">
          <a:xfrm>
            <a:off x="5750364" y="4353128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Falls Positive due to previous week data not comparable</a:t>
            </a:r>
          </a:p>
        </p:txBody>
      </p:sp>
      <p:cxnSp>
        <p:nvCxnSpPr>
          <p:cNvPr id="22" name="Gerade Verbindung 36">
            <a:extLst>
              <a:ext uri="{FF2B5EF4-FFF2-40B4-BE49-F238E27FC236}">
                <a16:creationId xmlns:a16="http://schemas.microsoft.com/office/drawing/2014/main" id="{FBEAF735-DF81-0A3B-9CB7-88B14D0CC205}"/>
              </a:ext>
            </a:extLst>
          </p:cNvPr>
          <p:cNvCxnSpPr>
            <a:cxnSpLocks/>
          </p:cNvCxnSpPr>
          <p:nvPr/>
        </p:nvCxnSpPr>
        <p:spPr bwMode="gray">
          <a:xfrm>
            <a:off x="398029" y="4063873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llipse 35">
            <a:extLst>
              <a:ext uri="{FF2B5EF4-FFF2-40B4-BE49-F238E27FC236}">
                <a16:creationId xmlns:a16="http://schemas.microsoft.com/office/drawing/2014/main" id="{91B0341B-389C-4CE5-4F90-6C77E3EDD7E5}"/>
              </a:ext>
            </a:extLst>
          </p:cNvPr>
          <p:cNvSpPr/>
          <p:nvPr/>
        </p:nvSpPr>
        <p:spPr bwMode="gray">
          <a:xfrm>
            <a:off x="2943585" y="2337822"/>
            <a:ext cx="2435503" cy="2486898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72 Alert Notifications</a:t>
            </a:r>
          </a:p>
        </p:txBody>
      </p:sp>
      <p:sp>
        <p:nvSpPr>
          <p:cNvPr id="24" name="Inhaltsplatzhalter 1">
            <a:extLst>
              <a:ext uri="{FF2B5EF4-FFF2-40B4-BE49-F238E27FC236}">
                <a16:creationId xmlns:a16="http://schemas.microsoft.com/office/drawing/2014/main" id="{F74844DB-3C3D-6251-630D-7240D0A70D82}"/>
              </a:ext>
            </a:extLst>
          </p:cNvPr>
          <p:cNvSpPr txBox="1">
            <a:spLocks/>
          </p:cNvSpPr>
          <p:nvPr/>
        </p:nvSpPr>
        <p:spPr bwMode="black">
          <a:xfrm>
            <a:off x="8465954" y="365125"/>
            <a:ext cx="3342005" cy="4540647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fontAlgn="auto">
              <a:lnSpc>
                <a:spcPct val="11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en-US" sz="2000" b="1" dirty="0"/>
              <a:t>Key Facts in V0 (2023-2024)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</a:pPr>
            <a:r>
              <a:rPr lang="en-US" sz="2000" dirty="0"/>
              <a:t>16 L3 VPNs proactively monitored.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  <a:tabLst/>
              <a:defRPr/>
            </a:pPr>
            <a:r>
              <a:rPr lang="en-US" sz="2000" dirty="0"/>
              <a:t>Individual Service Disruption Detection rule accuracy is beyond 90%. Summed accuracy is beyond 95%.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  <a:tabLst/>
              <a:defRPr/>
            </a:pPr>
            <a:r>
              <a:rPr lang="en-US" sz="2000" dirty="0"/>
              <a:t>Max Concern score ranged between 0.06 and 0.85. In average 0.46.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  <a:tabLst/>
              <a:defRPr/>
            </a:pPr>
            <a:r>
              <a:rPr lang="en-US" sz="2000" dirty="0"/>
              <a:t>In 4 cases additional YANG, in 13 cases additional BMP, in 2 cases Netconf Transaction-ID and 1 case additional </a:t>
            </a:r>
            <a:br>
              <a:rPr lang="en-US" sz="2000" dirty="0"/>
            </a:br>
            <a:r>
              <a:rPr lang="en-US" sz="2000" dirty="0"/>
              <a:t>L2 IPFIX metrics would have helped to gain more visibility.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  <a:tabLst/>
              <a:defRPr/>
            </a:pPr>
            <a:r>
              <a:rPr lang="en-US" sz="2000" dirty="0"/>
              <a:t>Key observability feature missing: BMP Local RIB with Path Marking.</a:t>
            </a:r>
          </a:p>
        </p:txBody>
      </p:sp>
    </p:spTree>
    <p:extLst>
      <p:ext uri="{BB962C8B-B14F-4D97-AF65-F5344CB8AC3E}">
        <p14:creationId xmlns:p14="http://schemas.microsoft.com/office/powerpoint/2010/main" val="4923728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p9"/>
          <p:cNvSpPr txBox="1">
            <a:spLocks noGrp="1"/>
          </p:cNvSpPr>
          <p:nvPr>
            <p:ph type="sldNum" idx="12"/>
          </p:nvPr>
        </p:nvSpPr>
        <p:spPr>
          <a:xfrm>
            <a:off x="11587892" y="6361637"/>
            <a:ext cx="41425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400"/>
              <a:t>13</a:t>
            </a:fld>
            <a:endParaRPr sz="1400"/>
          </a:p>
        </p:txBody>
      </p:sp>
      <p:sp>
        <p:nvSpPr>
          <p:cNvPr id="231" name="Google Shape;231;p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 sz="2800" b="1" dirty="0">
                <a:solidFill>
                  <a:srgbClr val="FF0000"/>
                </a:solidFill>
              </a:rPr>
              <a:t>Swisscom </a:t>
            </a:r>
            <a:r>
              <a:rPr lang="en-US" sz="2800" b="1" dirty="0"/>
              <a:t>- Cosmos Bright Lights PoC Detail</a:t>
            </a:r>
            <a:br>
              <a:rPr lang="en-US" sz="3600" dirty="0"/>
            </a:br>
            <a:r>
              <a:rPr lang="en-US" sz="2700" dirty="0">
                <a:solidFill>
                  <a:srgbClr val="AEABAB"/>
                </a:solidFill>
              </a:rPr>
              <a:t>Multiple Perspectives increases Accuracy</a:t>
            </a:r>
            <a:endParaRPr sz="2700" dirty="0">
              <a:solidFill>
                <a:srgbClr val="FF0000"/>
              </a:solidFill>
            </a:endParaRPr>
          </a:p>
        </p:txBody>
      </p:sp>
      <p:sp>
        <p:nvSpPr>
          <p:cNvPr id="24" name="Inhaltsplatzhalter 1">
            <a:extLst>
              <a:ext uri="{FF2B5EF4-FFF2-40B4-BE49-F238E27FC236}">
                <a16:creationId xmlns:a16="http://schemas.microsoft.com/office/drawing/2014/main" id="{F74844DB-3C3D-6251-630D-7240D0A70D82}"/>
              </a:ext>
            </a:extLst>
          </p:cNvPr>
          <p:cNvSpPr txBox="1">
            <a:spLocks/>
          </p:cNvSpPr>
          <p:nvPr/>
        </p:nvSpPr>
        <p:spPr bwMode="black">
          <a:xfrm>
            <a:off x="8465954" y="298580"/>
            <a:ext cx="3342005" cy="4607192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defRPr/>
            </a:pPr>
            <a:r>
              <a:rPr lang="en-US" sz="2000" b="1" dirty="0"/>
              <a:t>Key Improvements in V1 (2024)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</a:pPr>
            <a:r>
              <a:rPr lang="en-US" sz="2000" dirty="0"/>
              <a:t>&gt;12000 L3 VPNs proactively monitored since June 2024.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</a:pPr>
            <a:r>
              <a:rPr lang="en-US" sz="2000" dirty="0"/>
              <a:t>Realtime Streaming eliminates delayed ingestion falls positives and scaling.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</a:pPr>
            <a:r>
              <a:rPr lang="en-US" sz="2000" dirty="0"/>
              <a:t>Improved profiling. Compares to multiple previous weeks and discard largest deviation eliminates falls positives. </a:t>
            </a:r>
            <a:br>
              <a:rPr lang="en-US" sz="2000" dirty="0"/>
            </a:br>
            <a:r>
              <a:rPr lang="en-US" sz="2000" dirty="0">
                <a:solidFill>
                  <a:srgbClr val="FF0000"/>
                </a:solidFill>
              </a:rPr>
              <a:t>-&gt; Work In progress</a:t>
            </a:r>
          </a:p>
          <a:p>
            <a:pPr marR="0" fontAlgn="auto">
              <a:buClr>
                <a:schemeClr val="dk2"/>
              </a:buClr>
              <a:buSzPts val="1700"/>
              <a:tabLst/>
              <a:defRPr/>
            </a:pPr>
            <a:r>
              <a:rPr lang="en-US" sz="2000" b="1" dirty="0"/>
              <a:t>Key Improvements in V2 (2025)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  <a:tabLst/>
              <a:defRPr/>
            </a:pPr>
            <a:r>
              <a:rPr lang="en-US" sz="2000" dirty="0"/>
              <a:t>Annotate operational and analytical Network Incident data for reproduction. 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  <a:tabLst/>
              <a:defRPr/>
            </a:pPr>
            <a:r>
              <a:rPr lang="en-US" sz="2000" dirty="0"/>
              <a:t>Enabling automated workflow. From PowerPoint slide decks to data driven actionable insights.</a:t>
            </a:r>
          </a:p>
        </p:txBody>
      </p:sp>
      <p:cxnSp>
        <p:nvCxnSpPr>
          <p:cNvPr id="11" name="Gerade Verbindung 36">
            <a:extLst>
              <a:ext uri="{FF2B5EF4-FFF2-40B4-BE49-F238E27FC236}">
                <a16:creationId xmlns:a16="http://schemas.microsoft.com/office/drawing/2014/main" id="{062C5BA3-5F91-9A56-0FB2-A157ECDE4645}"/>
              </a:ext>
            </a:extLst>
          </p:cNvPr>
          <p:cNvCxnSpPr>
            <a:cxnSpLocks/>
          </p:cNvCxnSpPr>
          <p:nvPr/>
        </p:nvCxnSpPr>
        <p:spPr bwMode="gray">
          <a:xfrm>
            <a:off x="398029" y="4063873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3">
            <a:extLst>
              <a:ext uri="{FF2B5EF4-FFF2-40B4-BE49-F238E27FC236}">
                <a16:creationId xmlns:a16="http://schemas.microsoft.com/office/drawing/2014/main" id="{AD9C517B-83D2-54B1-E453-87AB53D758AC}"/>
              </a:ext>
            </a:extLst>
          </p:cNvPr>
          <p:cNvSpPr/>
          <p:nvPr/>
        </p:nvSpPr>
        <p:spPr bwMode="gray">
          <a:xfrm>
            <a:off x="384041" y="4063873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Three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out of Six checks</a:t>
            </a:r>
          </a:p>
        </p:txBody>
      </p:sp>
      <p:cxnSp>
        <p:nvCxnSpPr>
          <p:cNvPr id="13" name="Gerade Verbindung 36">
            <a:extLst>
              <a:ext uri="{FF2B5EF4-FFF2-40B4-BE49-F238E27FC236}">
                <a16:creationId xmlns:a16="http://schemas.microsoft.com/office/drawing/2014/main" id="{CEF329FF-9858-805F-3FE2-E6ED779C859D}"/>
              </a:ext>
            </a:extLst>
          </p:cNvPr>
          <p:cNvCxnSpPr>
            <a:cxnSpLocks/>
          </p:cNvCxnSpPr>
          <p:nvPr/>
        </p:nvCxnSpPr>
        <p:spPr bwMode="gray">
          <a:xfrm>
            <a:off x="5671317" y="4353128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41">
            <a:extLst>
              <a:ext uri="{FF2B5EF4-FFF2-40B4-BE49-F238E27FC236}">
                <a16:creationId xmlns:a16="http://schemas.microsoft.com/office/drawing/2014/main" id="{AF5E5FD4-37C3-D6F8-F40D-7E093B667EC3}"/>
              </a:ext>
            </a:extLst>
          </p:cNvPr>
          <p:cNvCxnSpPr>
            <a:cxnSpLocks/>
          </p:cNvCxnSpPr>
          <p:nvPr/>
        </p:nvCxnSpPr>
        <p:spPr bwMode="gray">
          <a:xfrm>
            <a:off x="4886269" y="2123730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41">
            <a:extLst>
              <a:ext uri="{FF2B5EF4-FFF2-40B4-BE49-F238E27FC236}">
                <a16:creationId xmlns:a16="http://schemas.microsoft.com/office/drawing/2014/main" id="{FC2ED9A3-59E2-4C02-0C42-7DF18209075A}"/>
              </a:ext>
            </a:extLst>
          </p:cNvPr>
          <p:cNvCxnSpPr>
            <a:cxnSpLocks/>
          </p:cNvCxnSpPr>
          <p:nvPr/>
        </p:nvCxnSpPr>
        <p:spPr bwMode="gray">
          <a:xfrm>
            <a:off x="384041" y="2067743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7">
            <a:extLst>
              <a:ext uri="{FF2B5EF4-FFF2-40B4-BE49-F238E27FC236}">
                <a16:creationId xmlns:a16="http://schemas.microsoft.com/office/drawing/2014/main" id="{A0A23C6E-629E-964B-D209-55C41415F495}"/>
              </a:ext>
            </a:extLst>
          </p:cNvPr>
          <p:cNvSpPr/>
          <p:nvPr/>
        </p:nvSpPr>
        <p:spPr bwMode="gray">
          <a:xfrm>
            <a:off x="384041" y="2067743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On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out of Six checks</a:t>
            </a:r>
          </a:p>
        </p:txBody>
      </p:sp>
      <p:graphicFrame>
        <p:nvGraphicFramePr>
          <p:cNvPr id="28" name="Diagramm 6">
            <a:extLst>
              <a:ext uri="{FF2B5EF4-FFF2-40B4-BE49-F238E27FC236}">
                <a16:creationId xmlns:a16="http://schemas.microsoft.com/office/drawing/2014/main" id="{E462DE10-6669-9C49-0CAA-BEE5932E0368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329558" y="1211721"/>
          <a:ext cx="3663559" cy="4834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Rechteck 7">
            <a:extLst>
              <a:ext uri="{FF2B5EF4-FFF2-40B4-BE49-F238E27FC236}">
                <a16:creationId xmlns:a16="http://schemas.microsoft.com/office/drawing/2014/main" id="{809AFD71-3FC6-697F-22C0-8EC176FB8038}"/>
              </a:ext>
            </a:extLst>
          </p:cNvPr>
          <p:cNvSpPr/>
          <p:nvPr/>
        </p:nvSpPr>
        <p:spPr bwMode="gray">
          <a:xfrm>
            <a:off x="5750364" y="2123730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Fou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 out of Six checks</a:t>
            </a:r>
          </a:p>
        </p:txBody>
      </p:sp>
      <p:sp>
        <p:nvSpPr>
          <p:cNvPr id="30" name="Rechteck 10">
            <a:extLst>
              <a:ext uri="{FF2B5EF4-FFF2-40B4-BE49-F238E27FC236}">
                <a16:creationId xmlns:a16="http://schemas.microsoft.com/office/drawing/2014/main" id="{004890FF-C65E-F04C-7769-5B2592C0DF5A}"/>
              </a:ext>
            </a:extLst>
          </p:cNvPr>
          <p:cNvSpPr/>
          <p:nvPr/>
        </p:nvSpPr>
        <p:spPr bwMode="gray">
          <a:xfrm>
            <a:off x="5750364" y="4353128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8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Two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 out of Six checks</a:t>
            </a:r>
          </a:p>
        </p:txBody>
      </p:sp>
      <p:sp>
        <p:nvSpPr>
          <p:cNvPr id="31" name="Ellipse 35">
            <a:extLst>
              <a:ext uri="{FF2B5EF4-FFF2-40B4-BE49-F238E27FC236}">
                <a16:creationId xmlns:a16="http://schemas.microsoft.com/office/drawing/2014/main" id="{6A6F152D-314F-BC9C-874B-092EFB581BAC}"/>
              </a:ext>
            </a:extLst>
          </p:cNvPr>
          <p:cNvSpPr/>
          <p:nvPr/>
        </p:nvSpPr>
        <p:spPr bwMode="gray">
          <a:xfrm>
            <a:off x="2943585" y="2337822"/>
            <a:ext cx="2435503" cy="2486898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20 Network Incidents</a:t>
            </a:r>
          </a:p>
        </p:txBody>
      </p:sp>
    </p:spTree>
    <p:extLst>
      <p:ext uri="{BB962C8B-B14F-4D97-AF65-F5344CB8AC3E}">
        <p14:creationId xmlns:p14="http://schemas.microsoft.com/office/powerpoint/2010/main" val="11087197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024DC3B6-499C-4E15-9336-2F15A0DFB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7892" y="6361637"/>
            <a:ext cx="414251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4AC485-25DE-431E-B345-9C0A15BB7F8A}" type="slidenum">
              <a:rPr kumimoji="0" lang="de-CH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" name="Gruppieren 37">
            <a:extLst>
              <a:ext uri="{FF2B5EF4-FFF2-40B4-BE49-F238E27FC236}">
                <a16:creationId xmlns:a16="http://schemas.microsoft.com/office/drawing/2014/main" id="{593A3D2C-AF3C-4647-1B02-6C5086C62287}"/>
              </a:ext>
            </a:extLst>
          </p:cNvPr>
          <p:cNvGrpSpPr>
            <a:grpSpLocks noChangeAspect="1"/>
          </p:cNvGrpSpPr>
          <p:nvPr/>
        </p:nvGrpSpPr>
        <p:grpSpPr>
          <a:xfrm>
            <a:off x="4141425" y="5073000"/>
            <a:ext cx="1440000" cy="1440000"/>
            <a:chOff x="9420737" y="1699669"/>
            <a:chExt cx="1440000" cy="1440000"/>
          </a:xfrm>
        </p:grpSpPr>
        <p:sp>
          <p:nvSpPr>
            <p:cNvPr id="3" name="Textfeld 31">
              <a:extLst>
                <a:ext uri="{FF2B5EF4-FFF2-40B4-BE49-F238E27FC236}">
                  <a16:creationId xmlns:a16="http://schemas.microsoft.com/office/drawing/2014/main" id="{21A2E246-8977-0C56-8169-DA0A27B49547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Data Collection</a:t>
              </a:r>
            </a:p>
          </p:txBody>
        </p:sp>
        <p:sp>
          <p:nvSpPr>
            <p:cNvPr id="4" name="Rechteck 32">
              <a:extLst>
                <a:ext uri="{FF2B5EF4-FFF2-40B4-BE49-F238E27FC236}">
                  <a16:creationId xmlns:a16="http://schemas.microsoft.com/office/drawing/2014/main" id="{A20B2D5A-928F-260A-3CF1-C2C4CAA43CFA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7" name="Gruppieren 86">
            <a:extLst>
              <a:ext uri="{FF2B5EF4-FFF2-40B4-BE49-F238E27FC236}">
                <a16:creationId xmlns:a16="http://schemas.microsoft.com/office/drawing/2014/main" id="{746914D8-DC97-6FCE-CCEC-831AF8343A92}"/>
              </a:ext>
            </a:extLst>
          </p:cNvPr>
          <p:cNvGrpSpPr>
            <a:grpSpLocks noChangeAspect="1"/>
          </p:cNvGrpSpPr>
          <p:nvPr/>
        </p:nvGrpSpPr>
        <p:grpSpPr>
          <a:xfrm>
            <a:off x="1133909" y="3029989"/>
            <a:ext cx="1296000" cy="1296000"/>
            <a:chOff x="9777596" y="4473116"/>
            <a:chExt cx="1440000" cy="1440000"/>
          </a:xfrm>
        </p:grpSpPr>
        <p:sp>
          <p:nvSpPr>
            <p:cNvPr id="8" name="Textfeld 39">
              <a:extLst>
                <a:ext uri="{FF2B5EF4-FFF2-40B4-BE49-F238E27FC236}">
                  <a16:creationId xmlns:a16="http://schemas.microsoft.com/office/drawing/2014/main" id="{677D70B8-28D4-9C31-9D94-D3052A1620BA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 bwMode="gray">
            <a:xfrm>
              <a:off x="9777596" y="4473116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1781E3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Device Trend Detection</a:t>
              </a:r>
            </a:p>
          </p:txBody>
        </p:sp>
        <p:sp>
          <p:nvSpPr>
            <p:cNvPr id="9" name="Rechteck 40">
              <a:extLst>
                <a:ext uri="{FF2B5EF4-FFF2-40B4-BE49-F238E27FC236}">
                  <a16:creationId xmlns:a16="http://schemas.microsoft.com/office/drawing/2014/main" id="{A7D4BF0B-6AC3-4AA9-E8BD-1253A110E4C1}"/>
                </a:ext>
              </a:extLst>
            </p:cNvPr>
            <p:cNvSpPr/>
            <p:nvPr/>
          </p:nvSpPr>
          <p:spPr>
            <a:xfrm>
              <a:off x="10497596" y="4473116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0" name="Gruppieren 42">
            <a:extLst>
              <a:ext uri="{FF2B5EF4-FFF2-40B4-BE49-F238E27FC236}">
                <a16:creationId xmlns:a16="http://schemas.microsoft.com/office/drawing/2014/main" id="{2A39462A-F04D-B596-7A41-2767D485510C}"/>
              </a:ext>
            </a:extLst>
          </p:cNvPr>
          <p:cNvGrpSpPr>
            <a:grpSpLocks noChangeAspect="1"/>
          </p:cNvGrpSpPr>
          <p:nvPr/>
        </p:nvGrpSpPr>
        <p:grpSpPr>
          <a:xfrm>
            <a:off x="2651309" y="3029989"/>
            <a:ext cx="1296000" cy="1296000"/>
            <a:chOff x="9420737" y="1699669"/>
            <a:chExt cx="1440000" cy="1440000"/>
          </a:xfrm>
        </p:grpSpPr>
        <p:sp>
          <p:nvSpPr>
            <p:cNvPr id="11" name="Textfeld 43">
              <a:extLst>
                <a:ext uri="{FF2B5EF4-FFF2-40B4-BE49-F238E27FC236}">
                  <a16:creationId xmlns:a16="http://schemas.microsoft.com/office/drawing/2014/main" id="{BC202C79-EF00-4794-A5E7-54FD1AD6FFEC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0EABA9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Verify, Troubleshoot and Notify</a:t>
              </a:r>
            </a:p>
          </p:txBody>
        </p:sp>
        <p:sp>
          <p:nvSpPr>
            <p:cNvPr id="12" name="Rechteck 44">
              <a:extLst>
                <a:ext uri="{FF2B5EF4-FFF2-40B4-BE49-F238E27FC236}">
                  <a16:creationId xmlns:a16="http://schemas.microsoft.com/office/drawing/2014/main" id="{D0BEF0AD-9BD5-957F-DF20-EA76A3E6320A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3" name="Gruppieren 45">
            <a:extLst>
              <a:ext uri="{FF2B5EF4-FFF2-40B4-BE49-F238E27FC236}">
                <a16:creationId xmlns:a16="http://schemas.microsoft.com/office/drawing/2014/main" id="{C27136FF-F3FA-F76D-A713-2F31CB874934}"/>
              </a:ext>
            </a:extLst>
          </p:cNvPr>
          <p:cNvGrpSpPr>
            <a:grpSpLocks noChangeAspect="1"/>
          </p:cNvGrpSpPr>
          <p:nvPr/>
        </p:nvGrpSpPr>
        <p:grpSpPr>
          <a:xfrm>
            <a:off x="8723272" y="3104417"/>
            <a:ext cx="1296000" cy="1296000"/>
            <a:chOff x="9420737" y="1699669"/>
            <a:chExt cx="1440000" cy="1440000"/>
          </a:xfrm>
        </p:grpSpPr>
        <p:sp>
          <p:nvSpPr>
            <p:cNvPr id="15" name="Textfeld 46">
              <a:extLst>
                <a:ext uri="{FF2B5EF4-FFF2-40B4-BE49-F238E27FC236}">
                  <a16:creationId xmlns:a16="http://schemas.microsoft.com/office/drawing/2014/main" id="{F228A6D5-55A8-F878-625A-2CFBC2A4CC8C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5944C6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Closed Loop Operation</a:t>
              </a:r>
            </a:p>
          </p:txBody>
        </p:sp>
        <p:sp>
          <p:nvSpPr>
            <p:cNvPr id="16" name="Rechteck 47">
              <a:extLst>
                <a:ext uri="{FF2B5EF4-FFF2-40B4-BE49-F238E27FC236}">
                  <a16:creationId xmlns:a16="http://schemas.microsoft.com/office/drawing/2014/main" id="{B76F4586-6C16-9488-8080-DC2366DDC57B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7" name="Gruppieren 48">
            <a:extLst>
              <a:ext uri="{FF2B5EF4-FFF2-40B4-BE49-F238E27FC236}">
                <a16:creationId xmlns:a16="http://schemas.microsoft.com/office/drawing/2014/main" id="{CEB0384D-AE7F-401C-F7FF-BDAEA866A31A}"/>
              </a:ext>
            </a:extLst>
          </p:cNvPr>
          <p:cNvGrpSpPr>
            <a:grpSpLocks noChangeAspect="1"/>
          </p:cNvGrpSpPr>
          <p:nvPr/>
        </p:nvGrpSpPr>
        <p:grpSpPr>
          <a:xfrm>
            <a:off x="4166756" y="3081453"/>
            <a:ext cx="1296000" cy="1296000"/>
            <a:chOff x="9420737" y="1699669"/>
            <a:chExt cx="1440000" cy="1440000"/>
          </a:xfrm>
        </p:grpSpPr>
        <p:sp>
          <p:nvSpPr>
            <p:cNvPr id="18" name="Textfeld 49">
              <a:extLst>
                <a:ext uri="{FF2B5EF4-FFF2-40B4-BE49-F238E27FC236}">
                  <a16:creationId xmlns:a16="http://schemas.microsoft.com/office/drawing/2014/main" id="{710443C2-A213-C93E-D7DE-9256AD74C9AA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DDE3E7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Anomaly Detection</a:t>
              </a:r>
            </a:p>
          </p:txBody>
        </p:sp>
        <p:sp>
          <p:nvSpPr>
            <p:cNvPr id="19" name="Rechteck 50">
              <a:extLst>
                <a:ext uri="{FF2B5EF4-FFF2-40B4-BE49-F238E27FC236}">
                  <a16:creationId xmlns:a16="http://schemas.microsoft.com/office/drawing/2014/main" id="{B0C54029-2E2D-F6C0-FCED-13B25FD81DFE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20" name="Gruppieren 51">
            <a:extLst>
              <a:ext uri="{FF2B5EF4-FFF2-40B4-BE49-F238E27FC236}">
                <a16:creationId xmlns:a16="http://schemas.microsoft.com/office/drawing/2014/main" id="{1B5435B3-AE86-5E3B-7DD7-612D9AD30695}"/>
              </a:ext>
            </a:extLst>
          </p:cNvPr>
          <p:cNvGrpSpPr>
            <a:grpSpLocks noChangeAspect="1"/>
          </p:cNvGrpSpPr>
          <p:nvPr/>
        </p:nvGrpSpPr>
        <p:grpSpPr>
          <a:xfrm>
            <a:off x="5670531" y="3029989"/>
            <a:ext cx="1296000" cy="1296000"/>
            <a:chOff x="9420737" y="1699669"/>
            <a:chExt cx="1440000" cy="1440000"/>
          </a:xfrm>
        </p:grpSpPr>
        <p:sp>
          <p:nvSpPr>
            <p:cNvPr id="21" name="Textfeld 52">
              <a:extLst>
                <a:ext uri="{FF2B5EF4-FFF2-40B4-BE49-F238E27FC236}">
                  <a16:creationId xmlns:a16="http://schemas.microsoft.com/office/drawing/2014/main" id="{8B96C491-62EA-C102-02AE-9C35C6819F7C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E61E64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Visualization </a:t>
              </a:r>
            </a:p>
          </p:txBody>
        </p:sp>
        <p:sp>
          <p:nvSpPr>
            <p:cNvPr id="22" name="Rechteck 53">
              <a:extLst>
                <a:ext uri="{FF2B5EF4-FFF2-40B4-BE49-F238E27FC236}">
                  <a16:creationId xmlns:a16="http://schemas.microsoft.com/office/drawing/2014/main" id="{CD5EEA4E-05C6-79F3-6419-252AE948AC1F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23" name="Gruppieren 54">
            <a:extLst>
              <a:ext uri="{FF2B5EF4-FFF2-40B4-BE49-F238E27FC236}">
                <a16:creationId xmlns:a16="http://schemas.microsoft.com/office/drawing/2014/main" id="{43DA79DF-E42D-79DA-2E63-37571E43F0EB}"/>
              </a:ext>
            </a:extLst>
          </p:cNvPr>
          <p:cNvGrpSpPr>
            <a:grpSpLocks noChangeAspect="1"/>
          </p:cNvGrpSpPr>
          <p:nvPr/>
        </p:nvGrpSpPr>
        <p:grpSpPr>
          <a:xfrm>
            <a:off x="7189919" y="3081453"/>
            <a:ext cx="1296000" cy="1296000"/>
            <a:chOff x="9420737" y="1699669"/>
            <a:chExt cx="1440000" cy="1440000"/>
          </a:xfrm>
        </p:grpSpPr>
        <p:sp>
          <p:nvSpPr>
            <p:cNvPr id="24" name="Textfeld 55">
              <a:extLst>
                <a:ext uri="{FF2B5EF4-FFF2-40B4-BE49-F238E27FC236}">
                  <a16:creationId xmlns:a16="http://schemas.microsoft.com/office/drawing/2014/main" id="{AF618EBE-6571-2ABA-C463-166B9EC84BF4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A63297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</a:t>
              </a: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SLI and SLO</a:t>
              </a:r>
            </a:p>
          </p:txBody>
        </p:sp>
        <p:sp>
          <p:nvSpPr>
            <p:cNvPr id="25" name="Rechteck 56">
              <a:extLst>
                <a:ext uri="{FF2B5EF4-FFF2-40B4-BE49-F238E27FC236}">
                  <a16:creationId xmlns:a16="http://schemas.microsoft.com/office/drawing/2014/main" id="{6E4AAC49-253A-16CD-EEDC-0B1795F09A96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14B17EC-9407-E3A2-1F7C-D47095BE2DDB}"/>
              </a:ext>
            </a:extLst>
          </p:cNvPr>
          <p:cNvCxnSpPr/>
          <p:nvPr/>
        </p:nvCxnSpPr>
        <p:spPr bwMode="gray">
          <a:xfrm>
            <a:off x="1562428" y="1762656"/>
            <a:ext cx="0" cy="752897"/>
          </a:xfrm>
          <a:prstGeom prst="straightConnector1">
            <a:avLst/>
          </a:prstGeom>
          <a:ln w="28575">
            <a:solidFill>
              <a:srgbClr val="C00000"/>
            </a:solidFill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phic 26">
            <a:extLst>
              <a:ext uri="{FF2B5EF4-FFF2-40B4-BE49-F238E27FC236}">
                <a16:creationId xmlns:a16="http://schemas.microsoft.com/office/drawing/2014/main" id="{2C9830F3-CBF4-D372-DBC5-8AB3BCB5DD2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746822" y="2105153"/>
            <a:ext cx="410400" cy="41040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17EB060B-2351-6AC0-7856-F33CB052400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913298" y="2119502"/>
            <a:ext cx="410400" cy="4104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5DF5E834-66E3-AE49-4040-1D628970A3FC}"/>
              </a:ext>
            </a:extLst>
          </p:cNvPr>
          <p:cNvSpPr/>
          <p:nvPr/>
        </p:nvSpPr>
        <p:spPr bwMode="gray">
          <a:xfrm>
            <a:off x="1577989" y="1741622"/>
            <a:ext cx="724220" cy="27070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ler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A1C20F7-8218-7EF6-0AE8-992862F0E030}"/>
              </a:ext>
            </a:extLst>
          </p:cNvPr>
          <p:cNvSpPr/>
          <p:nvPr/>
        </p:nvSpPr>
        <p:spPr bwMode="gray">
          <a:xfrm>
            <a:off x="2591780" y="1741622"/>
            <a:ext cx="1053436" cy="27070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Postmortem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17DF8467-9125-3982-1295-79F29C9B0DC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134630" y="3240845"/>
            <a:ext cx="469639" cy="35744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C770A491-1DB5-77FC-712B-35F7A47E2F9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628429" y="5293198"/>
            <a:ext cx="457022" cy="39319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17CD1AF5-AD78-AA80-9E26-C4515CC45BF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094109" y="3122827"/>
            <a:ext cx="424647" cy="39319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0DF49D5E-4B86-6869-98D7-DE092FC30B1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594444" y="3151466"/>
            <a:ext cx="454869" cy="39319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76768564-2BA7-E325-FE43-6D4CE762CDA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600566" y="3202810"/>
            <a:ext cx="474707" cy="39319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BA0A7074-FC27-6B8B-F899-8DDE2533BB10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085367" y="3192400"/>
            <a:ext cx="474367" cy="393192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D966A7CE-25D4-DED2-6D45-788D6CB73BA2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577989" y="3104417"/>
            <a:ext cx="445123" cy="393192"/>
          </a:xfrm>
          <a:prstGeom prst="rect">
            <a:avLst/>
          </a:prstGeom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0DC3853-02C8-D495-EDB1-B0129F6F9E30}"/>
              </a:ext>
            </a:extLst>
          </p:cNvPr>
          <p:cNvCxnSpPr/>
          <p:nvPr/>
        </p:nvCxnSpPr>
        <p:spPr bwMode="gray">
          <a:xfrm>
            <a:off x="1050398" y="4905347"/>
            <a:ext cx="9379274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BC6E6D7-2688-CCDB-6A6C-7880291A8339}"/>
              </a:ext>
            </a:extLst>
          </p:cNvPr>
          <p:cNvCxnSpPr/>
          <p:nvPr/>
        </p:nvCxnSpPr>
        <p:spPr bwMode="gray">
          <a:xfrm>
            <a:off x="1044803" y="2672601"/>
            <a:ext cx="9379274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1686B893-78A4-3D56-EECA-A2AEF814D57E}"/>
              </a:ext>
            </a:extLst>
          </p:cNvPr>
          <p:cNvSpPr/>
          <p:nvPr/>
        </p:nvSpPr>
        <p:spPr bwMode="gray">
          <a:xfrm>
            <a:off x="3461645" y="2212755"/>
            <a:ext cx="3497884" cy="27070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draft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netan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nmop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-network-anomaly-semantics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draft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netan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nmop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-network-anomaly-lifecycl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CD8EA4A-314A-BB28-E712-414D5F01E35F}"/>
              </a:ext>
            </a:extLst>
          </p:cNvPr>
          <p:cNvCxnSpPr/>
          <p:nvPr/>
        </p:nvCxnSpPr>
        <p:spPr bwMode="gray">
          <a:xfrm>
            <a:off x="2612083" y="1762656"/>
            <a:ext cx="0" cy="752897"/>
          </a:xfrm>
          <a:prstGeom prst="straightConnector1">
            <a:avLst/>
          </a:prstGeom>
          <a:ln w="28575">
            <a:solidFill>
              <a:srgbClr val="C00000"/>
            </a:solidFill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1E3CC50D-6BF1-E751-D746-D130EE998D4B}"/>
              </a:ext>
            </a:extLst>
          </p:cNvPr>
          <p:cNvCxnSpPr/>
          <p:nvPr/>
        </p:nvCxnSpPr>
        <p:spPr bwMode="gray">
          <a:xfrm>
            <a:off x="5863467" y="5073000"/>
            <a:ext cx="0" cy="752897"/>
          </a:xfrm>
          <a:prstGeom prst="straightConnector1">
            <a:avLst/>
          </a:prstGeom>
          <a:ln w="28575">
            <a:solidFill>
              <a:srgbClr val="C00000"/>
            </a:solidFill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le 1">
            <a:extLst>
              <a:ext uri="{FF2B5EF4-FFF2-40B4-BE49-F238E27FC236}">
                <a16:creationId xmlns:a16="http://schemas.microsoft.com/office/drawing/2014/main" id="{A48B1DB7-BCDC-5D18-F56D-8A1447F1B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2800" b="1" dirty="0"/>
              <a:t>Data Mesh organizes Data in Organizations</a:t>
            </a:r>
            <a:br>
              <a:rPr lang="en-GB" sz="3600" dirty="0"/>
            </a:br>
            <a:r>
              <a:rPr lang="en-US" sz="2700" dirty="0">
                <a:solidFill>
                  <a:schemeClr val="bg2">
                    <a:lumMod val="75000"/>
                  </a:schemeClr>
                </a:solidFill>
              </a:rPr>
              <a:t>Enables Network Analytics use cas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EA8359-DC79-8122-1266-D00A47BFEBE7}"/>
              </a:ext>
            </a:extLst>
          </p:cNvPr>
          <p:cNvSpPr txBox="1"/>
          <p:nvPr/>
        </p:nvSpPr>
        <p:spPr>
          <a:xfrm>
            <a:off x="755754" y="2294617"/>
            <a:ext cx="8021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2"/>
              </a:rPr>
              <a:t>RFC 8632</a:t>
            </a:r>
            <a:endParaRPr kumimoji="0" lang="de-CH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feld 49">
            <a:extLst>
              <a:ext uri="{FF2B5EF4-FFF2-40B4-BE49-F238E27FC236}">
                <a16:creationId xmlns:a16="http://schemas.microsoft.com/office/drawing/2014/main" id="{0BE6D769-3D3F-136C-2542-47D8CD603382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gray">
          <a:xfrm>
            <a:off x="3929403" y="2815301"/>
            <a:ext cx="1761022" cy="1811606"/>
          </a:xfrm>
          <a:prstGeom prst="ellipse">
            <a:avLst/>
          </a:prstGeom>
          <a:solidFill>
            <a:srgbClr val="FF0000">
              <a:alpha val="5000"/>
            </a:srgbClr>
          </a:solidFill>
          <a:ln w="6350">
            <a:solidFill>
              <a:srgbClr val="FF0000"/>
            </a:solidFill>
            <a:prstDash val="sysDot"/>
          </a:ln>
          <a:effectLst/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4E115-1F77-20A8-3DA1-68ED2196E5C6}"/>
              </a:ext>
            </a:extLst>
          </p:cNvPr>
          <p:cNvSpPr/>
          <p:nvPr/>
        </p:nvSpPr>
        <p:spPr bwMode="gray">
          <a:xfrm>
            <a:off x="3504586" y="4598248"/>
            <a:ext cx="3497884" cy="27070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prstClr val="black"/>
                </a:solidFill>
                <a:hlinkClick r:id="rId23"/>
              </a:rPr>
              <a:t>draft-</a:t>
            </a:r>
            <a:r>
              <a:rPr lang="en-US" sz="1200" b="1" dirty="0" err="1">
                <a:solidFill>
                  <a:prstClr val="black"/>
                </a:solidFill>
                <a:hlinkClick r:id="rId23"/>
              </a:rPr>
              <a:t>netana</a:t>
            </a:r>
            <a:r>
              <a:rPr lang="en-US" sz="1200" b="1" dirty="0">
                <a:solidFill>
                  <a:prstClr val="black"/>
                </a:solidFill>
                <a:hlinkClick r:id="rId23"/>
              </a:rPr>
              <a:t>-</a:t>
            </a:r>
            <a:r>
              <a:rPr lang="en-US" sz="1200" b="1" dirty="0" err="1">
                <a:solidFill>
                  <a:prstClr val="black"/>
                </a:solidFill>
                <a:hlinkClick r:id="rId23"/>
              </a:rPr>
              <a:t>nmop</a:t>
            </a:r>
            <a:r>
              <a:rPr lang="en-US" sz="1200" b="1" dirty="0">
                <a:solidFill>
                  <a:prstClr val="black"/>
                </a:solidFill>
                <a:hlinkClick r:id="rId23"/>
              </a:rPr>
              <a:t>-network-anomaly-architectur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AEDF2F7-CBB1-37EC-1E76-291921B5FC70}"/>
              </a:ext>
            </a:extLst>
          </p:cNvPr>
          <p:cNvSpPr txBox="1"/>
          <p:nvPr/>
        </p:nvSpPr>
        <p:spPr>
          <a:xfrm>
            <a:off x="5935922" y="5186800"/>
            <a:ext cx="5900477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prstClr val="black"/>
                </a:solidFill>
              </a:rPr>
              <a:t>Network Telemetry (</a:t>
            </a:r>
            <a:r>
              <a:rPr lang="en-US" sz="1200" b="1" dirty="0">
                <a:solidFill>
                  <a:prstClr val="black"/>
                </a:solidFill>
                <a:hlinkClick r:id="" action="ppaction://noaction"/>
              </a:rPr>
              <a:t>RFC 9232</a:t>
            </a:r>
            <a:r>
              <a:rPr lang="en-US" sz="1200" b="1" dirty="0">
                <a:solidFill>
                  <a:prstClr val="black"/>
                </a:solidFill>
              </a:rPr>
              <a:t>)</a:t>
            </a:r>
            <a:br>
              <a:rPr lang="en-US" sz="1200" b="1" dirty="0">
                <a:solidFill>
                  <a:prstClr val="black"/>
                </a:solidFill>
              </a:rPr>
            </a:br>
            <a:r>
              <a:rPr lang="en-US" sz="1200" b="1" dirty="0">
                <a:solidFill>
                  <a:prstClr val="black"/>
                </a:solidFill>
              </a:rPr>
              <a:t>IPFIX </a:t>
            </a:r>
            <a:r>
              <a:rPr lang="en-US" sz="1200" dirty="0">
                <a:solidFill>
                  <a:prstClr val="black"/>
                </a:solidFill>
              </a:rPr>
              <a:t>(</a:t>
            </a:r>
            <a:r>
              <a:rPr lang="en-US" sz="1200" dirty="0">
                <a:solidFill>
                  <a:prstClr val="black"/>
                </a:solidFill>
                <a:hlinkClick r:id="rId24"/>
              </a:rPr>
              <a:t>RFC 7011</a:t>
            </a:r>
            <a:r>
              <a:rPr lang="en-US" sz="1200" dirty="0">
                <a:solidFill>
                  <a:prstClr val="black"/>
                </a:solidFill>
              </a:rPr>
              <a:t>, </a:t>
            </a:r>
            <a:r>
              <a:rPr lang="en-US" sz="1200" dirty="0">
                <a:solidFill>
                  <a:prstClr val="black"/>
                </a:solidFill>
                <a:hlinkClick r:id="rId25"/>
              </a:rPr>
              <a:t>RFC 9487</a:t>
            </a:r>
            <a:r>
              <a:rPr lang="en-US" sz="1200" dirty="0">
                <a:solidFill>
                  <a:prstClr val="black"/>
                </a:solidFill>
              </a:rPr>
              <a:t>, </a:t>
            </a:r>
            <a:r>
              <a:rPr lang="en-US" sz="1200" dirty="0">
                <a:solidFill>
                  <a:prstClr val="black"/>
                </a:solidFill>
                <a:hlinkClick r:id="rId26"/>
              </a:rPr>
              <a:t>RFC 9160</a:t>
            </a:r>
            <a:r>
              <a:rPr lang="en-US" sz="1200" dirty="0">
                <a:solidFill>
                  <a:prstClr val="black"/>
                </a:solidFill>
              </a:rPr>
              <a:t>, </a:t>
            </a:r>
            <a:r>
              <a:rPr lang="en-US" sz="1200" dirty="0">
                <a:solidFill>
                  <a:prstClr val="black"/>
                </a:solidFill>
                <a:hlinkClick r:id="rId27"/>
              </a:rPr>
              <a:t>draft-</a:t>
            </a:r>
            <a:r>
              <a:rPr lang="en-US" sz="1200" dirty="0" err="1">
                <a:solidFill>
                  <a:prstClr val="black"/>
                </a:solidFill>
                <a:hlinkClick r:id="rId27"/>
              </a:rPr>
              <a:t>ietf</a:t>
            </a:r>
            <a:r>
              <a:rPr lang="en-US" sz="1200" dirty="0">
                <a:solidFill>
                  <a:prstClr val="black"/>
                </a:solidFill>
                <a:hlinkClick r:id="rId27"/>
              </a:rPr>
              <a:t>-opsawg-</a:t>
            </a:r>
            <a:r>
              <a:rPr lang="en-US" sz="1200" dirty="0" err="1">
                <a:solidFill>
                  <a:prstClr val="black"/>
                </a:solidFill>
                <a:hlinkClick r:id="rId27"/>
              </a:rPr>
              <a:t>ipfix</a:t>
            </a:r>
            <a:r>
              <a:rPr lang="en-US" sz="1200" dirty="0">
                <a:solidFill>
                  <a:prstClr val="black"/>
                </a:solidFill>
                <a:hlinkClick r:id="rId27"/>
              </a:rPr>
              <a:t>-on-path-telemetry</a:t>
            </a:r>
            <a:r>
              <a:rPr lang="en-US" sz="1200" dirty="0">
                <a:solidFill>
                  <a:prstClr val="black"/>
                </a:solidFill>
              </a:rPr>
              <a:t>)</a:t>
            </a:r>
          </a:p>
          <a:p>
            <a:pPr>
              <a:defRPr/>
            </a:pPr>
            <a:r>
              <a:rPr lang="de-CH" sz="1200" b="1" dirty="0">
                <a:solidFill>
                  <a:prstClr val="black"/>
                </a:solidFill>
              </a:rPr>
              <a:t>BMP </a:t>
            </a:r>
            <a:r>
              <a:rPr lang="de-CH" sz="1200" dirty="0">
                <a:solidFill>
                  <a:prstClr val="black"/>
                </a:solidFill>
              </a:rPr>
              <a:t>(</a:t>
            </a:r>
            <a:r>
              <a:rPr lang="de-CH" sz="1200" dirty="0">
                <a:solidFill>
                  <a:prstClr val="black"/>
                </a:solidFill>
                <a:hlinkClick r:id="rId28"/>
              </a:rPr>
              <a:t>RFC 7854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29"/>
              </a:rPr>
              <a:t>RFC 8671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0"/>
              </a:rPr>
              <a:t>RFC 9069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1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1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1"/>
              </a:rPr>
              <a:t>-grow-</a:t>
            </a:r>
            <a:r>
              <a:rPr lang="de-CH" sz="1200" dirty="0" err="1">
                <a:solidFill>
                  <a:prstClr val="black"/>
                </a:solidFill>
                <a:hlinkClick r:id="rId31"/>
              </a:rPr>
              <a:t>bmp</a:t>
            </a:r>
            <a:r>
              <a:rPr lang="de-CH" sz="1200" dirty="0">
                <a:solidFill>
                  <a:prstClr val="black"/>
                </a:solidFill>
                <a:hlinkClick r:id="rId31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1"/>
              </a:rPr>
              <a:t>tlv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2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2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2"/>
              </a:rPr>
              <a:t>-grow-</a:t>
            </a:r>
            <a:r>
              <a:rPr lang="de-CH" sz="1200" dirty="0" err="1">
                <a:solidFill>
                  <a:prstClr val="black"/>
                </a:solidFill>
                <a:hlinkClick r:id="rId32"/>
              </a:rPr>
              <a:t>bmp</a:t>
            </a:r>
            <a:r>
              <a:rPr lang="de-CH" sz="1200" dirty="0">
                <a:solidFill>
                  <a:prstClr val="black"/>
                </a:solidFill>
                <a:hlinkClick r:id="rId32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2"/>
              </a:rPr>
              <a:t>path-marking-tlv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3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3"/>
              </a:rPr>
              <a:t>lucente</a:t>
            </a:r>
            <a:r>
              <a:rPr lang="de-CH" sz="1200" dirty="0">
                <a:solidFill>
                  <a:prstClr val="black"/>
                </a:solidFill>
                <a:hlinkClick r:id="rId33"/>
              </a:rPr>
              <a:t>-grow-</a:t>
            </a:r>
            <a:r>
              <a:rPr lang="de-CH" sz="1200" dirty="0" err="1">
                <a:solidFill>
                  <a:prstClr val="black"/>
                </a:solidFill>
                <a:hlinkClick r:id="rId33"/>
              </a:rPr>
              <a:t>bmp</a:t>
            </a:r>
            <a:r>
              <a:rPr lang="de-CH" sz="1200" dirty="0">
                <a:solidFill>
                  <a:prstClr val="black"/>
                </a:solidFill>
                <a:hlinkClick r:id="rId33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3"/>
              </a:rPr>
              <a:t>rel</a:t>
            </a:r>
            <a:r>
              <a:rPr lang="de-CH" sz="1200" dirty="0">
                <a:solidFill>
                  <a:prstClr val="black"/>
                </a:solidFill>
              </a:rPr>
              <a:t>)</a:t>
            </a:r>
          </a:p>
          <a:p>
            <a:pPr>
              <a:defRPr/>
            </a:pPr>
            <a:r>
              <a:rPr lang="de-CH" sz="1200" b="1" dirty="0">
                <a:solidFill>
                  <a:prstClr val="black"/>
                </a:solidFill>
              </a:rPr>
              <a:t>YANG-Push </a:t>
            </a:r>
            <a:r>
              <a:rPr lang="de-CH" sz="1200" dirty="0">
                <a:solidFill>
                  <a:prstClr val="black"/>
                </a:solidFill>
              </a:rPr>
              <a:t>(</a:t>
            </a:r>
            <a:r>
              <a:rPr lang="de-CH" sz="1200" dirty="0">
                <a:solidFill>
                  <a:prstClr val="black"/>
                </a:solidFill>
                <a:hlinkClick r:id="rId34"/>
              </a:rPr>
              <a:t>RFC 8639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5"/>
              </a:rPr>
              <a:t>RFC 8641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6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6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6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36"/>
              </a:rPr>
              <a:t>udp</a:t>
            </a:r>
            <a:r>
              <a:rPr lang="de-CH" sz="1200" dirty="0">
                <a:solidFill>
                  <a:prstClr val="black"/>
                </a:solidFill>
                <a:hlinkClick r:id="rId36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6"/>
              </a:rPr>
              <a:t>notif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7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7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7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37"/>
              </a:rPr>
              <a:t>distributed</a:t>
            </a:r>
            <a:r>
              <a:rPr lang="de-CH" sz="1200" dirty="0">
                <a:solidFill>
                  <a:prstClr val="black"/>
                </a:solidFill>
                <a:hlinkClick r:id="rId37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7"/>
              </a:rPr>
              <a:t>notif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8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8"/>
              </a:rPr>
              <a:t>ahuang</a:t>
            </a:r>
            <a:r>
              <a:rPr lang="de-CH" sz="1200" dirty="0">
                <a:solidFill>
                  <a:prstClr val="black"/>
                </a:solidFill>
                <a:hlinkClick r:id="rId38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38"/>
              </a:rPr>
              <a:t>notif</a:t>
            </a:r>
            <a:r>
              <a:rPr lang="de-CH" sz="1200" dirty="0">
                <a:solidFill>
                  <a:prstClr val="black"/>
                </a:solidFill>
                <a:hlinkClick r:id="rId38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8"/>
              </a:rPr>
              <a:t>yang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9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9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9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39"/>
              </a:rPr>
              <a:t>yang</a:t>
            </a:r>
            <a:r>
              <a:rPr lang="de-CH" sz="1200" dirty="0">
                <a:solidFill>
                  <a:prstClr val="black"/>
                </a:solidFill>
                <a:hlinkClick r:id="rId39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9"/>
              </a:rPr>
              <a:t>notifications-versioning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40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40"/>
              </a:rPr>
              <a:t>tgraf</a:t>
            </a:r>
            <a:r>
              <a:rPr lang="de-CH" sz="1200" dirty="0">
                <a:solidFill>
                  <a:prstClr val="black"/>
                </a:solidFill>
                <a:hlinkClick r:id="rId40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40"/>
              </a:rPr>
              <a:t>notif</a:t>
            </a:r>
            <a:r>
              <a:rPr lang="de-CH" sz="1200" dirty="0">
                <a:solidFill>
                  <a:prstClr val="black"/>
                </a:solidFill>
                <a:hlinkClick r:id="rId40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40"/>
              </a:rPr>
              <a:t>sequencing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41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41"/>
              </a:rPr>
              <a:t>tgraf</a:t>
            </a:r>
            <a:r>
              <a:rPr lang="de-CH" sz="1200" dirty="0">
                <a:solidFill>
                  <a:prstClr val="black"/>
                </a:solidFill>
                <a:hlinkClick r:id="rId41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41"/>
              </a:rPr>
              <a:t>yang</a:t>
            </a:r>
            <a:r>
              <a:rPr lang="de-CH" sz="1200" dirty="0">
                <a:solidFill>
                  <a:prstClr val="black"/>
                </a:solidFill>
                <a:hlinkClick r:id="rId41"/>
              </a:rPr>
              <a:t>-push-observation-time</a:t>
            </a:r>
            <a:r>
              <a:rPr lang="de-CH" sz="1200" dirty="0">
                <a:solidFill>
                  <a:prstClr val="black"/>
                </a:solidFill>
              </a:rPr>
              <a:t>)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39358FF-EF3C-19A5-B66E-56764914554A}"/>
              </a:ext>
            </a:extLst>
          </p:cNvPr>
          <p:cNvSpPr/>
          <p:nvPr/>
        </p:nvSpPr>
        <p:spPr bwMode="gray">
          <a:xfrm>
            <a:off x="6096000" y="4842000"/>
            <a:ext cx="4449694" cy="270701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perational Data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draft-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netana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-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nmop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-yang-message-broker-integration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B2D3939-F517-F366-148A-DF75104D4638}"/>
              </a:ext>
            </a:extLst>
          </p:cNvPr>
          <p:cNvSpPr/>
          <p:nvPr/>
        </p:nvSpPr>
        <p:spPr bwMode="gray">
          <a:xfrm>
            <a:off x="6084464" y="2618584"/>
            <a:ext cx="4449694" cy="270701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nalytical Data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draft-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netana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-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nmop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-yang-message-broker-integration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10375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CAEE21E-0CF2-4355-A68A-655C5FDE8F93}"/>
              </a:ext>
            </a:extLst>
          </p:cNvPr>
          <p:cNvSpPr txBox="1">
            <a:spLocks/>
          </p:cNvSpPr>
          <p:nvPr/>
        </p:nvSpPr>
        <p:spPr bwMode="black">
          <a:xfrm>
            <a:off x="1370214" y="1690688"/>
            <a:ext cx="3717175" cy="13490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/>
              <a:t>« Network operators </a:t>
            </a:r>
            <a:r>
              <a:rPr lang="en-US" sz="2400" b="1" dirty="0">
                <a:solidFill>
                  <a:srgbClr val="FF0000"/>
                </a:solidFill>
              </a:rPr>
              <a:t>connect customers in </a:t>
            </a:r>
            <a:r>
              <a:rPr lang="en-US" sz="2400" b="1" dirty="0"/>
              <a:t>routing tables called </a:t>
            </a:r>
            <a:r>
              <a:rPr lang="en-US" sz="2400" b="1" dirty="0">
                <a:solidFill>
                  <a:srgbClr val="FF0000"/>
                </a:solidFill>
              </a:rPr>
              <a:t>Connectivity Services</a:t>
            </a:r>
            <a:r>
              <a:rPr lang="en-US" sz="2400" b="1" dirty="0"/>
              <a:t> </a:t>
            </a:r>
            <a:r>
              <a:rPr lang="de-CH" sz="2400" b="1" dirty="0"/>
              <a:t>»</a:t>
            </a:r>
            <a:endParaRPr lang="en-US" sz="2400" b="1" dirty="0"/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024DC3B6-499C-4E15-9336-2F15A0DFB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7892" y="6361637"/>
            <a:ext cx="414251" cy="365125"/>
          </a:xfrm>
        </p:spPr>
        <p:txBody>
          <a:bodyPr/>
          <a:lstStyle/>
          <a:p>
            <a:fld id="{FC4AC485-25DE-431E-B345-9C0A15BB7F8A}" type="slidenum">
              <a:rPr lang="de-CH" sz="1400" smtClean="0"/>
              <a:t>3</a:t>
            </a:fld>
            <a:endParaRPr lang="de-CH" sz="14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ABEFBDA-754E-5E90-E343-A2FC2B1031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9974" y="3252403"/>
            <a:ext cx="2981196" cy="3090762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09802C0-BFFB-9B0F-A529-E60CDD518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2800" b="1" dirty="0"/>
              <a:t>What to monitor</a:t>
            </a:r>
            <a:br>
              <a:rPr lang="en-GB" sz="3600" dirty="0"/>
            </a:br>
            <a:r>
              <a:rPr lang="en-US" sz="2700" dirty="0">
                <a:solidFill>
                  <a:schemeClr val="bg2">
                    <a:lumMod val="75000"/>
                  </a:schemeClr>
                </a:solidFill>
              </a:rPr>
              <a:t>Which metrics are collected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546AC53-5398-E0CF-0807-B7B55276F1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9197" y="3125586"/>
            <a:ext cx="4297468" cy="309076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4281388-E93D-AC26-49A1-DA5D5EEB0D3B}"/>
              </a:ext>
            </a:extLst>
          </p:cNvPr>
          <p:cNvSpPr txBox="1"/>
          <p:nvPr/>
        </p:nvSpPr>
        <p:spPr>
          <a:xfrm>
            <a:off x="5378334" y="1690688"/>
            <a:ext cx="550302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+mj-lt"/>
              </a:rPr>
              <a:t>« Network Telemetry </a:t>
            </a:r>
            <a:br>
              <a:rPr lang="en-US" sz="2400" b="1" dirty="0">
                <a:latin typeface="+mj-lt"/>
              </a:rPr>
            </a:br>
            <a:r>
              <a:rPr lang="en-US" sz="2400" b="1" dirty="0">
                <a:latin typeface="+mj-lt"/>
              </a:rPr>
              <a:t>(</a:t>
            </a:r>
            <a:r>
              <a:rPr lang="en-US" sz="2400" b="1" dirty="0">
                <a:solidFill>
                  <a:srgbClr val="FF0000"/>
                </a:solidFill>
                <a:latin typeface="+mj-lt"/>
              </a:rPr>
              <a:t>RFC 9232</a:t>
            </a:r>
            <a:r>
              <a:rPr lang="en-US" sz="2400" b="1" dirty="0">
                <a:latin typeface="+mj-lt"/>
              </a:rPr>
              <a:t>) describes how to collect data from </a:t>
            </a:r>
            <a:r>
              <a:rPr lang="en-US" sz="2400" b="1" dirty="0">
                <a:solidFill>
                  <a:srgbClr val="FF0000"/>
                </a:solidFill>
                <a:latin typeface="+mj-lt"/>
              </a:rPr>
              <a:t>all 3 network planes </a:t>
            </a:r>
            <a:r>
              <a:rPr lang="en-US" sz="2400" b="1" dirty="0">
                <a:latin typeface="+mj-lt"/>
              </a:rPr>
              <a:t>efficiently</a:t>
            </a:r>
            <a:r>
              <a:rPr lang="en-US" sz="2400" b="1" dirty="0">
                <a:solidFill>
                  <a:schemeClr val="accent6"/>
                </a:solidFill>
                <a:latin typeface="+mj-lt"/>
              </a:rPr>
              <a:t> </a:t>
            </a:r>
            <a:r>
              <a:rPr lang="de-CH" sz="2400" b="1" dirty="0">
                <a:latin typeface="+mj-lt"/>
              </a:rPr>
              <a:t>»</a:t>
            </a:r>
            <a:endParaRPr lang="en-US" sz="24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50695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024DC3B6-499C-4E15-9336-2F15A0DFB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7892" y="6361637"/>
            <a:ext cx="414251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4AC485-25DE-431E-B345-9C0A15BB7F8A}" type="slidenum">
              <a:rPr kumimoji="0" lang="de-CH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09802C0-BFFB-9B0F-A529-E60CDD518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2800" b="1"/>
              <a:t>Example: Monitoring </a:t>
            </a:r>
            <a:r>
              <a:rPr lang="en-US" sz="2800" b="1" dirty="0"/>
              <a:t>L3 VPN's with IPFIX, BMP and YANG Push</a:t>
            </a:r>
            <a:br>
              <a:rPr lang="en-GB" sz="3600" dirty="0"/>
            </a:br>
            <a:r>
              <a:rPr lang="en-US" sz="2700" dirty="0">
                <a:solidFill>
                  <a:schemeClr val="bg2">
                    <a:lumMod val="75000"/>
                  </a:schemeClr>
                </a:solidFill>
              </a:rPr>
              <a:t>From Connectivity Service to Realtime Network Analytics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7FEC644C-5BBA-9D8A-F77B-29E3C855E4BF}"/>
              </a:ext>
            </a:extLst>
          </p:cNvPr>
          <p:cNvSpPr txBox="1">
            <a:spLocks/>
          </p:cNvSpPr>
          <p:nvPr/>
        </p:nvSpPr>
        <p:spPr bwMode="black">
          <a:xfrm>
            <a:off x="5903843" y="1742858"/>
            <a:ext cx="5684049" cy="4788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lang="en-US" b="1" dirty="0">
                <a:solidFill>
                  <a:srgbClr val="FF0000"/>
                </a:solidFill>
                <a:latin typeface="TheSans Swisscom Light"/>
              </a:rPr>
              <a:t>Connectivity Servic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perspective,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Connection Points are connected through Logical Connections.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From a BGP control-plane perspective,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Pv4/6 unicast prefixes in VRF's are tagged with BGP standard communities. </a:t>
            </a:r>
          </a:p>
          <a:p>
            <a:pPr marL="362880" marR="0" lvl="1" indent="-18288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ne BGP standard community to identify the Logical Connection. One BGP standard community to identify each Connection Point. </a:t>
            </a:r>
          </a:p>
          <a:p>
            <a:pPr marL="362880" marR="0" lvl="1" indent="-18288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When IPv4/6 prefixes are exported from VRF's, a BGP route-distinguisher, BGP extended community route-targets and a SRv6 VPN SID for the IPv6 next-hop </a:t>
            </a:r>
            <a:r>
              <a:rPr lang="en-US" dirty="0">
                <a:latin typeface="TheSans Swisscom Light"/>
              </a:rPr>
              <a:t>ar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 allocated.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From a forwarding plane perspective,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when IPv4/6 unicast traffic is received from the edge at the SRv6 PE, a lookup is performed, the SRv6 VPN SID is obtained and IPv6 next-hop is added when forwarded to the core.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wisscom collects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MPLS and SRv6 provider data plane, IPv4/6 unicast customer data-plane in IPFIX and at provider edge BGP VPNv4/6 unicast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 production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to perform real-time data correlation.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C2E1AF7-54F3-0ED4-A99D-8EDF196420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104" y="1695129"/>
            <a:ext cx="4710952" cy="4884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4697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024DC3B6-499C-4E15-9336-2F15A0DFB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7892" y="6361637"/>
            <a:ext cx="414251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4AC485-25DE-431E-B345-9C0A15BB7F8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E0DAD8A-94CD-EADA-C24A-D442928BA111}"/>
              </a:ext>
            </a:extLst>
          </p:cNvPr>
          <p:cNvSpPr txBox="1">
            <a:spLocks/>
          </p:cNvSpPr>
          <p:nvPr/>
        </p:nvSpPr>
        <p:spPr bwMode="black">
          <a:xfrm>
            <a:off x="2823598" y="1891619"/>
            <a:ext cx="3530068" cy="926996"/>
          </a:xfrm>
          <a:prstGeom prst="rect">
            <a:avLst/>
          </a:prstGeom>
        </p:spPr>
        <p:txBody>
          <a:bodyPr lIns="0" tIns="28800" rIns="0" bIns="2880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1" i="0" u="none" strike="noStrike" kern="120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Network Anomaly Detec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1913334-AF3D-1C65-5BD7-83A59BC04A95}"/>
              </a:ext>
            </a:extLst>
          </p:cNvPr>
          <p:cNvSpPr txBox="1">
            <a:spLocks/>
          </p:cNvSpPr>
          <p:nvPr/>
        </p:nvSpPr>
        <p:spPr bwMode="black">
          <a:xfrm>
            <a:off x="1033895" y="3414211"/>
            <a:ext cx="5806744" cy="2842871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Connectivity Service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Network Anomaly Detectio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tantly monitors and detects any network or device topology chang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along with their associated forwarding consequences for customers as outliers. Notifications are sent to the Network Operation Center before the customer is aware of service disruptions.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 offers operational metrics for in-depth analysis,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owing to understand in which platform the problem originates and facilitates problem resolution. 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24F2E4A1-9E2D-0EF1-0811-4E46B062701C}"/>
              </a:ext>
            </a:extLst>
          </p:cNvPr>
          <p:cNvSpPr txBox="1">
            <a:spLocks/>
          </p:cNvSpPr>
          <p:nvPr/>
        </p:nvSpPr>
        <p:spPr bwMode="black">
          <a:xfrm>
            <a:off x="7514368" y="1734999"/>
            <a:ext cx="4391685" cy="48423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swers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at changed and when, on which connectivity service, and how does it impact the customers?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cuses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vides meaningful connectivity service impact information before customer is aware of and support in root-cause analysis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Mesh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umes operational real-time Forwarding Plane, Control Plane and Management Plane metrics and produces analytical alerts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rection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m connectivity service to network platform.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2727A73F-4E58-7304-CF16-627D8D6C87D5}"/>
              </a:ext>
            </a:extLst>
          </p:cNvPr>
          <p:cNvSpPr txBox="1">
            <a:spLocks/>
          </p:cNvSpPr>
          <p:nvPr/>
        </p:nvSpPr>
        <p:spPr bwMode="black">
          <a:xfrm>
            <a:off x="7514369" y="3383533"/>
            <a:ext cx="4032000" cy="1440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reeform 81">
            <a:extLst>
              <a:ext uri="{FF2B5EF4-FFF2-40B4-BE49-F238E27FC236}">
                <a16:creationId xmlns:a16="http://schemas.microsoft.com/office/drawing/2014/main" id="{AC97AA67-80C3-B6F7-F631-98BE70FEFABA}"/>
              </a:ext>
            </a:extLst>
          </p:cNvPr>
          <p:cNvSpPr>
            <a:spLocks noEditPoints="1"/>
          </p:cNvSpPr>
          <p:nvPr>
            <p:custDataLst>
              <p:tags r:id="rId1"/>
            </p:custDataLst>
          </p:nvPr>
        </p:nvSpPr>
        <p:spPr bwMode="black">
          <a:xfrm>
            <a:off x="6924136" y="3100652"/>
            <a:ext cx="328612" cy="328612"/>
          </a:xfrm>
          <a:custGeom>
            <a:avLst/>
            <a:gdLst>
              <a:gd name="T0" fmla="*/ 68 w 88"/>
              <a:gd name="T1" fmla="*/ 36 h 88"/>
              <a:gd name="T2" fmla="*/ 64 w 88"/>
              <a:gd name="T3" fmla="*/ 40 h 88"/>
              <a:gd name="T4" fmla="*/ 56 w 88"/>
              <a:gd name="T5" fmla="*/ 40 h 88"/>
              <a:gd name="T6" fmla="*/ 56 w 88"/>
              <a:gd name="T7" fmla="*/ 48 h 88"/>
              <a:gd name="T8" fmla="*/ 52 w 88"/>
              <a:gd name="T9" fmla="*/ 52 h 88"/>
              <a:gd name="T10" fmla="*/ 48 w 88"/>
              <a:gd name="T11" fmla="*/ 48 h 88"/>
              <a:gd name="T12" fmla="*/ 48 w 88"/>
              <a:gd name="T13" fmla="*/ 40 h 88"/>
              <a:gd name="T14" fmla="*/ 40 w 88"/>
              <a:gd name="T15" fmla="*/ 40 h 88"/>
              <a:gd name="T16" fmla="*/ 36 w 88"/>
              <a:gd name="T17" fmla="*/ 36 h 88"/>
              <a:gd name="T18" fmla="*/ 40 w 88"/>
              <a:gd name="T19" fmla="*/ 32 h 88"/>
              <a:gd name="T20" fmla="*/ 48 w 88"/>
              <a:gd name="T21" fmla="*/ 32 h 88"/>
              <a:gd name="T22" fmla="*/ 48 w 88"/>
              <a:gd name="T23" fmla="*/ 24 h 88"/>
              <a:gd name="T24" fmla="*/ 52 w 88"/>
              <a:gd name="T25" fmla="*/ 20 h 88"/>
              <a:gd name="T26" fmla="*/ 56 w 88"/>
              <a:gd name="T27" fmla="*/ 24 h 88"/>
              <a:gd name="T28" fmla="*/ 56 w 88"/>
              <a:gd name="T29" fmla="*/ 32 h 88"/>
              <a:gd name="T30" fmla="*/ 64 w 88"/>
              <a:gd name="T31" fmla="*/ 32 h 88"/>
              <a:gd name="T32" fmla="*/ 68 w 88"/>
              <a:gd name="T33" fmla="*/ 36 h 88"/>
              <a:gd name="T34" fmla="*/ 88 w 88"/>
              <a:gd name="T35" fmla="*/ 36 h 88"/>
              <a:gd name="T36" fmla="*/ 52 w 88"/>
              <a:gd name="T37" fmla="*/ 72 h 88"/>
              <a:gd name="T38" fmla="*/ 30 w 88"/>
              <a:gd name="T39" fmla="*/ 64 h 88"/>
              <a:gd name="T40" fmla="*/ 7 w 88"/>
              <a:gd name="T41" fmla="*/ 87 h 88"/>
              <a:gd name="T42" fmla="*/ 1 w 88"/>
              <a:gd name="T43" fmla="*/ 87 h 88"/>
              <a:gd name="T44" fmla="*/ 1 w 88"/>
              <a:gd name="T45" fmla="*/ 81 h 88"/>
              <a:gd name="T46" fmla="*/ 24 w 88"/>
              <a:gd name="T47" fmla="*/ 58 h 88"/>
              <a:gd name="T48" fmla="*/ 16 w 88"/>
              <a:gd name="T49" fmla="*/ 36 h 88"/>
              <a:gd name="T50" fmla="*/ 52 w 88"/>
              <a:gd name="T51" fmla="*/ 0 h 88"/>
              <a:gd name="T52" fmla="*/ 88 w 88"/>
              <a:gd name="T53" fmla="*/ 36 h 88"/>
              <a:gd name="T54" fmla="*/ 80 w 88"/>
              <a:gd name="T55" fmla="*/ 36 h 88"/>
              <a:gd name="T56" fmla="*/ 52 w 88"/>
              <a:gd name="T57" fmla="*/ 8 h 88"/>
              <a:gd name="T58" fmla="*/ 24 w 88"/>
              <a:gd name="T59" fmla="*/ 36 h 88"/>
              <a:gd name="T60" fmla="*/ 52 w 88"/>
              <a:gd name="T61" fmla="*/ 64 h 88"/>
              <a:gd name="T62" fmla="*/ 80 w 88"/>
              <a:gd name="T63" fmla="*/ 36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8" h="88">
                <a:moveTo>
                  <a:pt x="68" y="36"/>
                </a:moveTo>
                <a:cubicBezTo>
                  <a:pt x="68" y="38"/>
                  <a:pt x="66" y="40"/>
                  <a:pt x="64" y="40"/>
                </a:cubicBezTo>
                <a:cubicBezTo>
                  <a:pt x="56" y="40"/>
                  <a:pt x="56" y="40"/>
                  <a:pt x="56" y="40"/>
                </a:cubicBezTo>
                <a:cubicBezTo>
                  <a:pt x="56" y="48"/>
                  <a:pt x="56" y="48"/>
                  <a:pt x="56" y="48"/>
                </a:cubicBezTo>
                <a:cubicBezTo>
                  <a:pt x="56" y="50"/>
                  <a:pt x="54" y="52"/>
                  <a:pt x="52" y="52"/>
                </a:cubicBezTo>
                <a:cubicBezTo>
                  <a:pt x="50" y="52"/>
                  <a:pt x="48" y="50"/>
                  <a:pt x="48" y="48"/>
                </a:cubicBezTo>
                <a:cubicBezTo>
                  <a:pt x="48" y="40"/>
                  <a:pt x="48" y="40"/>
                  <a:pt x="48" y="40"/>
                </a:cubicBezTo>
                <a:cubicBezTo>
                  <a:pt x="40" y="40"/>
                  <a:pt x="40" y="40"/>
                  <a:pt x="40" y="40"/>
                </a:cubicBezTo>
                <a:cubicBezTo>
                  <a:pt x="38" y="40"/>
                  <a:pt x="36" y="38"/>
                  <a:pt x="36" y="36"/>
                </a:cubicBezTo>
                <a:cubicBezTo>
                  <a:pt x="36" y="34"/>
                  <a:pt x="38" y="32"/>
                  <a:pt x="40" y="32"/>
                </a:cubicBezTo>
                <a:cubicBezTo>
                  <a:pt x="48" y="32"/>
                  <a:pt x="48" y="32"/>
                  <a:pt x="48" y="32"/>
                </a:cubicBezTo>
                <a:cubicBezTo>
                  <a:pt x="48" y="24"/>
                  <a:pt x="48" y="24"/>
                  <a:pt x="48" y="24"/>
                </a:cubicBezTo>
                <a:cubicBezTo>
                  <a:pt x="48" y="22"/>
                  <a:pt x="50" y="20"/>
                  <a:pt x="52" y="20"/>
                </a:cubicBezTo>
                <a:cubicBezTo>
                  <a:pt x="54" y="20"/>
                  <a:pt x="56" y="22"/>
                  <a:pt x="56" y="24"/>
                </a:cubicBezTo>
                <a:cubicBezTo>
                  <a:pt x="56" y="32"/>
                  <a:pt x="56" y="32"/>
                  <a:pt x="56" y="32"/>
                </a:cubicBezTo>
                <a:cubicBezTo>
                  <a:pt x="64" y="32"/>
                  <a:pt x="64" y="32"/>
                  <a:pt x="64" y="32"/>
                </a:cubicBezTo>
                <a:cubicBezTo>
                  <a:pt x="66" y="32"/>
                  <a:pt x="68" y="34"/>
                  <a:pt x="68" y="36"/>
                </a:cubicBezTo>
                <a:close/>
                <a:moveTo>
                  <a:pt x="88" y="36"/>
                </a:moveTo>
                <a:cubicBezTo>
                  <a:pt x="88" y="56"/>
                  <a:pt x="72" y="72"/>
                  <a:pt x="52" y="72"/>
                </a:cubicBezTo>
                <a:cubicBezTo>
                  <a:pt x="44" y="72"/>
                  <a:pt x="36" y="69"/>
                  <a:pt x="30" y="64"/>
                </a:cubicBezTo>
                <a:cubicBezTo>
                  <a:pt x="7" y="87"/>
                  <a:pt x="7" y="87"/>
                  <a:pt x="7" y="87"/>
                </a:cubicBezTo>
                <a:cubicBezTo>
                  <a:pt x="5" y="88"/>
                  <a:pt x="3" y="88"/>
                  <a:pt x="1" y="87"/>
                </a:cubicBezTo>
                <a:cubicBezTo>
                  <a:pt x="0" y="85"/>
                  <a:pt x="0" y="83"/>
                  <a:pt x="1" y="81"/>
                </a:cubicBezTo>
                <a:cubicBezTo>
                  <a:pt x="24" y="58"/>
                  <a:pt x="24" y="58"/>
                  <a:pt x="24" y="58"/>
                </a:cubicBezTo>
                <a:cubicBezTo>
                  <a:pt x="19" y="52"/>
                  <a:pt x="16" y="44"/>
                  <a:pt x="16" y="36"/>
                </a:cubicBezTo>
                <a:cubicBezTo>
                  <a:pt x="16" y="16"/>
                  <a:pt x="32" y="0"/>
                  <a:pt x="52" y="0"/>
                </a:cubicBezTo>
                <a:cubicBezTo>
                  <a:pt x="72" y="0"/>
                  <a:pt x="88" y="16"/>
                  <a:pt x="88" y="36"/>
                </a:cubicBezTo>
                <a:close/>
                <a:moveTo>
                  <a:pt x="80" y="36"/>
                </a:moveTo>
                <a:cubicBezTo>
                  <a:pt x="80" y="21"/>
                  <a:pt x="67" y="8"/>
                  <a:pt x="52" y="8"/>
                </a:cubicBezTo>
                <a:cubicBezTo>
                  <a:pt x="37" y="8"/>
                  <a:pt x="24" y="21"/>
                  <a:pt x="24" y="36"/>
                </a:cubicBezTo>
                <a:cubicBezTo>
                  <a:pt x="24" y="51"/>
                  <a:pt x="37" y="64"/>
                  <a:pt x="52" y="64"/>
                </a:cubicBezTo>
                <a:cubicBezTo>
                  <a:pt x="67" y="64"/>
                  <a:pt x="80" y="51"/>
                  <a:pt x="80" y="36"/>
                </a:cubicBezTo>
                <a:close/>
              </a:path>
            </a:pathLst>
          </a:custGeom>
          <a:solidFill>
            <a:srgbClr val="A6329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EABA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AE8C7DD3-D1F1-0DFF-EE87-6F292DE4F59F}"/>
              </a:ext>
            </a:extLst>
          </p:cNvPr>
          <p:cNvSpPr txBox="1">
            <a:spLocks/>
          </p:cNvSpPr>
          <p:nvPr/>
        </p:nvSpPr>
        <p:spPr bwMode="black">
          <a:xfrm>
            <a:off x="7514369" y="5387987"/>
            <a:ext cx="4032000" cy="1398094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F8CBE0D-416F-8BAD-1E56-FA9713FABC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83242" y="1734999"/>
            <a:ext cx="410400" cy="4104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0B68DB88-2125-5D8A-E234-D104730CD78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83242" y="5833131"/>
            <a:ext cx="410400" cy="410400"/>
          </a:xfrm>
          <a:prstGeom prst="rect">
            <a:avLst/>
          </a:prstGeom>
        </p:spPr>
      </p:pic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F823DFEB-60B2-6861-BABA-41683121FBF6}"/>
              </a:ext>
            </a:extLst>
          </p:cNvPr>
          <p:cNvSpPr txBox="1">
            <a:spLocks/>
          </p:cNvSpPr>
          <p:nvPr/>
        </p:nvSpPr>
        <p:spPr bwMode="black">
          <a:xfrm>
            <a:off x="7514369" y="5013855"/>
            <a:ext cx="4032000" cy="138870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95B0A8A-AF7B-BD55-22AA-98E6E6CF536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6882162" y="4448315"/>
            <a:ext cx="411480" cy="4114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722580C-E14C-C31D-D703-E102C17A75C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93210" y="1891618"/>
            <a:ext cx="1685925" cy="145732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D8B3AFB-4500-052D-4E96-82B4FC5CC5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2800" b="1" dirty="0"/>
              <a:t>What does Network Anomaly Detection mean</a:t>
            </a:r>
            <a:br>
              <a:rPr lang="en-US" sz="3600" dirty="0"/>
            </a:br>
            <a:r>
              <a:rPr lang="en-US" sz="2700" dirty="0">
                <a:solidFill>
                  <a:schemeClr val="bg2">
                    <a:lumMod val="75000"/>
                  </a:schemeClr>
                </a:solidFill>
              </a:rPr>
              <a:t>Monitor changes, called outliers, in networks</a:t>
            </a:r>
          </a:p>
        </p:txBody>
      </p:sp>
    </p:spTree>
    <p:extLst>
      <p:ext uri="{BB962C8B-B14F-4D97-AF65-F5344CB8AC3E}">
        <p14:creationId xmlns:p14="http://schemas.microsoft.com/office/powerpoint/2010/main" val="33846529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024DC3B6-499C-4E15-9336-2F15A0DFB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7892" y="6361637"/>
            <a:ext cx="414251" cy="365125"/>
          </a:xfrm>
        </p:spPr>
        <p:txBody>
          <a:bodyPr/>
          <a:lstStyle/>
          <a:p>
            <a:fld id="{FC4AC485-25DE-431E-B345-9C0A15BB7F8A}" type="slidenum">
              <a:rPr lang="de-CH" sz="1400" smtClean="0"/>
              <a:t>6</a:t>
            </a:fld>
            <a:endParaRPr lang="de-CH" sz="1400" dirty="0"/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A48B1DB7-BCDC-5D18-F56D-8A1447F1B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2800" b="1" dirty="0"/>
              <a:t>Postmortem, L3 VPN Pilot Migration - Voice Over IP</a:t>
            </a:r>
            <a:br>
              <a:rPr lang="en-GB" sz="3600" dirty="0"/>
            </a:br>
            <a:r>
              <a:rPr lang="en-US" sz="2800" b="0" dirty="0">
                <a:solidFill>
                  <a:schemeClr val="bg1">
                    <a:lumMod val="65000"/>
                  </a:schemeClr>
                </a:solidFill>
              </a:rPr>
              <a:t>Post Maintenance Window Analysis</a:t>
            </a:r>
            <a:endParaRPr lang="en-US" sz="2700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5C13DB2-576A-627A-2CF0-E34E57ACD6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131" y="1567351"/>
            <a:ext cx="7879449" cy="4331948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958B48B-ADF9-4C08-071D-E75646D4DABC}"/>
              </a:ext>
            </a:extLst>
          </p:cNvPr>
          <p:cNvSpPr txBox="1">
            <a:spLocks/>
          </p:cNvSpPr>
          <p:nvPr/>
        </p:nvSpPr>
        <p:spPr bwMode="black">
          <a:xfrm>
            <a:off x="8979316" y="426933"/>
            <a:ext cx="2856553" cy="505144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aintenance window </a:t>
            </a:r>
            <a:r>
              <a:rPr lang="en-US" sz="1200" dirty="0">
                <a:solidFill>
                  <a:srgbClr val="333333"/>
                </a:solidFill>
                <a:latin typeface="TheSans Swisscom Light"/>
              </a:rPr>
              <a:t>wa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cheduled to start on April 9th 22:00 with a total of 4 migration steps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t 12:45 CE facing interfaces on first P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node to be phased out was disabled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riggering a VPNv4 withdrawal of 138.187.57.240/28 from 138.187.57.6 Lo0 towards route-reflectors and then to Inter-AS Option B ASBR. BMP route-monitoring and CLI show commands verified successful route propagation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t 23:02 CE facing interfaces on first P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node to be migrated to was enabled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riggering a VPNv4 update of 138.187.57.240/28 from 138.190.129.180 Lo0 towards route-reflectors and then to Inter-AS option B ASBR. BMP route-monitoring and CLI show commands verified successful route propagation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t 23:34 CE facing interfaces on second P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node to be phased out was disabled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riggering a VPNv4 withdrawal of 138.187.57.240/28 from 138.187.57.5 Lo0 towards route-reflectors and then to Inter-AS </a:t>
            </a:r>
            <a:r>
              <a:rPr lang="en-US" sz="1200" dirty="0">
                <a:solidFill>
                  <a:srgbClr val="333333"/>
                </a:solidFill>
                <a:latin typeface="TheSans Swisscom Light"/>
              </a:rPr>
              <a:t>o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pti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B ASBR. BMP route-monitoring and CLI show commands verified successful route propagation to route-reflector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nd on two Option B ASBR, but on other six after 20 mins delay.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AF1EF20-85A6-C0BB-1636-29832B2C67B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14918" y="393700"/>
            <a:ext cx="410400" cy="410400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B3D2B6C-895B-B128-3B64-BE465DF3780C}"/>
              </a:ext>
            </a:extLst>
          </p:cNvPr>
          <p:cNvCxnSpPr>
            <a:cxnSpLocks/>
          </p:cNvCxnSpPr>
          <p:nvPr/>
        </p:nvCxnSpPr>
        <p:spPr bwMode="gray">
          <a:xfrm>
            <a:off x="8641955" y="3205655"/>
            <a:ext cx="0" cy="1123863"/>
          </a:xfrm>
          <a:prstGeom prst="straightConnector1">
            <a:avLst/>
          </a:prstGeom>
          <a:ln w="25400">
            <a:solidFill>
              <a:srgbClr val="5944C6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8">
            <a:extLst>
              <a:ext uri="{FF2B5EF4-FFF2-40B4-BE49-F238E27FC236}">
                <a16:creationId xmlns:a16="http://schemas.microsoft.com/office/drawing/2014/main" id="{8D19947A-144F-1D80-B0F3-67F6872163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37421" y="2796586"/>
            <a:ext cx="409069" cy="409069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EB8EE06A-9C5A-1497-6091-14DF67137B7E}"/>
              </a:ext>
            </a:extLst>
          </p:cNvPr>
          <p:cNvSpPr/>
          <p:nvPr/>
        </p:nvSpPr>
        <p:spPr bwMode="gray">
          <a:xfrm>
            <a:off x="1331522" y="4550754"/>
            <a:ext cx="566024" cy="525183"/>
          </a:xfrm>
          <a:prstGeom prst="ellipse">
            <a:avLst/>
          </a:prstGeom>
          <a:solidFill>
            <a:srgbClr val="FF0000">
              <a:alpha val="10000"/>
            </a:srgbClr>
          </a:solidFill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1CF02A3-82A0-40D0-9B64-6B9FC20586A6}"/>
              </a:ext>
            </a:extLst>
          </p:cNvPr>
          <p:cNvSpPr/>
          <p:nvPr/>
        </p:nvSpPr>
        <p:spPr bwMode="gray">
          <a:xfrm>
            <a:off x="1329008" y="5437676"/>
            <a:ext cx="566024" cy="525183"/>
          </a:xfrm>
          <a:prstGeom prst="ellipse">
            <a:avLst/>
          </a:prstGeom>
          <a:solidFill>
            <a:srgbClr val="FF0000">
              <a:alpha val="10000"/>
            </a:srgbClr>
          </a:solidFill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CFA25E0-D5B0-91D3-117C-26055F6E5CC6}"/>
              </a:ext>
            </a:extLst>
          </p:cNvPr>
          <p:cNvSpPr/>
          <p:nvPr/>
        </p:nvSpPr>
        <p:spPr bwMode="gray">
          <a:xfrm>
            <a:off x="1285096" y="2951507"/>
            <a:ext cx="566024" cy="1168260"/>
          </a:xfrm>
          <a:prstGeom prst="ellipse">
            <a:avLst/>
          </a:prstGeom>
          <a:solidFill>
            <a:srgbClr val="FF0000">
              <a:alpha val="10000"/>
            </a:srgbClr>
          </a:solidFill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F2C0F71-B41B-ECC1-F60C-F8D3A587CFA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384161" y="4439642"/>
            <a:ext cx="525183" cy="525183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454752F-262C-79E4-AA8B-1ED9C821AA0C}"/>
              </a:ext>
            </a:extLst>
          </p:cNvPr>
          <p:cNvCxnSpPr>
            <a:cxnSpLocks/>
          </p:cNvCxnSpPr>
          <p:nvPr/>
        </p:nvCxnSpPr>
        <p:spPr bwMode="gray">
          <a:xfrm>
            <a:off x="8619452" y="1589073"/>
            <a:ext cx="0" cy="1161062"/>
          </a:xfrm>
          <a:prstGeom prst="straightConnector1">
            <a:avLst/>
          </a:prstGeom>
          <a:ln w="25400">
            <a:solidFill>
              <a:srgbClr val="5944C6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8">
            <a:extLst>
              <a:ext uri="{FF2B5EF4-FFF2-40B4-BE49-F238E27FC236}">
                <a16:creationId xmlns:a16="http://schemas.microsoft.com/office/drawing/2014/main" id="{0CCB84FC-46E4-E41C-DF7F-CC97564CE78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14918" y="1159792"/>
            <a:ext cx="409069" cy="409069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87BEEEE-087C-C4CD-2079-D081718361C6}"/>
              </a:ext>
            </a:extLst>
          </p:cNvPr>
          <p:cNvSpPr/>
          <p:nvPr/>
        </p:nvSpPr>
        <p:spPr>
          <a:xfrm>
            <a:off x="364732" y="6016834"/>
            <a:ext cx="787084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verall BGP Update/withdrawals Across Swisscom MPLS/SRv6 Cores</a:t>
            </a:r>
          </a:p>
        </p:txBody>
      </p:sp>
    </p:spTree>
    <p:extLst>
      <p:ext uri="{BB962C8B-B14F-4D97-AF65-F5344CB8AC3E}">
        <p14:creationId xmlns:p14="http://schemas.microsoft.com/office/powerpoint/2010/main" val="23304004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024DC3B6-499C-4E15-9336-2F15A0DFB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7892" y="6361637"/>
            <a:ext cx="414251" cy="365125"/>
          </a:xfrm>
        </p:spPr>
        <p:txBody>
          <a:bodyPr/>
          <a:lstStyle/>
          <a:p>
            <a:fld id="{FC4AC485-25DE-431E-B345-9C0A15BB7F8A}" type="slidenum">
              <a:rPr lang="de-CH" sz="1400" smtClean="0"/>
              <a:t>7</a:t>
            </a:fld>
            <a:endParaRPr lang="de-CH" sz="1400" dirty="0"/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A48B1DB7-BCDC-5D18-F56D-8A1447F1B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2800" b="1" dirty="0"/>
              <a:t>Postmortem, L3 VPN Pilot Migration - Voice Over IP</a:t>
            </a:r>
            <a:br>
              <a:rPr lang="en-GB" sz="3600" dirty="0"/>
            </a:br>
            <a:r>
              <a:rPr lang="en-US" sz="2800" b="0" dirty="0">
                <a:solidFill>
                  <a:schemeClr val="bg1">
                    <a:lumMod val="65000"/>
                  </a:schemeClr>
                </a:solidFill>
              </a:rPr>
              <a:t>Show command drove to wrong conclusion</a:t>
            </a:r>
            <a:endParaRPr lang="en-US" sz="27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C6613F22-6DD1-56DE-935E-2C90E8C8CC57}"/>
              </a:ext>
            </a:extLst>
          </p:cNvPr>
          <p:cNvSpPr txBox="1">
            <a:spLocks/>
          </p:cNvSpPr>
          <p:nvPr/>
        </p:nvSpPr>
        <p:spPr bwMode="black">
          <a:xfrm>
            <a:off x="10743577" y="1726696"/>
            <a:ext cx="1221090" cy="272016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Juniper </a:t>
            </a:r>
            <a:r>
              <a:rPr kumimoji="0" lang="en-US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JunOS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CLI show command shows that path is for 20min no longer primary active but still as backup path inactive.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utput mislead network engineer to believe that path is still installed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B4CF674-59EF-DF02-1DAC-2E35F9D9BA83}"/>
              </a:ext>
            </a:extLst>
          </p:cNvPr>
          <p:cNvSpPr/>
          <p:nvPr/>
        </p:nvSpPr>
        <p:spPr>
          <a:xfrm>
            <a:off x="189857" y="1655573"/>
            <a:ext cx="5184094" cy="4662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show route table bgp.l3vpn.0 protocol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bgp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138.187.57.240/28 detai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ourier New" panose="02070309020205020404" pitchFamily="49" charset="0"/>
              <a:ea typeface="+mn-ea"/>
              <a:cs typeface="Courier New" panose="020703090202050204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60633:4101214024:138.187.57.240/28 (1 entry, 1 announced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BGP    Preference: 170/-10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Route Distinguisher: 60633:41012140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Next hop type: Indirect, Next hop index: 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Address: 0x1a963a3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Next-hop reference count: 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Source: 138.190.128.11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Protocol next hop: 138.187.57.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Label operation: Push 8371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Label TTL action: prop-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ttl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ourier New" panose="02070309020205020404" pitchFamily="49" charset="0"/>
              <a:ea typeface="+mn-ea"/>
              <a:cs typeface="Courier New" panose="020703090202050204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Load balance label: Label 83714: None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Indirect next hop: 0x2 no-forward INH Session ID: 0x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State: &lt;Delete Int Ext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rotectionPath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rotectionCand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&g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Local AS: 64088.1116 Peer AS: 64088.111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Age: 5:28       Metric: 805     Metric2: 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Validation State: unverifi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Resolving-AIGP: 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Effective metric: 8 (IGP metric plus resolving AIGP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Task: BGP_64088.1116.138.190.128.11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Announcement bits (1): 1-BM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AS path: 60633 64088.5 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Communities: 60633:204 60633:208 60633:1002 64497:4965 64499:13338 target:60633:110000631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Accept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BMP: Pre: withdraw Station: DAISY_BMP_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BMP: Pre: withdraw Station: DAISY_BMP_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BMP: Station: &lt;unassigned&g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                Color: VPN Label: 8371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Localpref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: 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Router ID: 138.190.128.11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Thread: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juno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-main</a:t>
            </a:r>
            <a:endParaRPr kumimoji="0" lang="de-CH" sz="9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ourier New" panose="02070309020205020404" pitchFamily="49" charset="0"/>
              <a:ea typeface="+mn-ea"/>
              <a:cs typeface="Courier New" panose="02070309020205020404" pitchFamily="49" charset="0"/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DFFE5F3-98A9-B901-A816-EFFEF14A5B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27808" y="1748939"/>
            <a:ext cx="525183" cy="525183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56EC099-FD21-AE64-3C6C-987C8F12E609}"/>
              </a:ext>
            </a:extLst>
          </p:cNvPr>
          <p:cNvSpPr/>
          <p:nvPr/>
        </p:nvSpPr>
        <p:spPr>
          <a:xfrm>
            <a:off x="5058497" y="1655573"/>
            <a:ext cx="5184094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show route table bgp.l3vpn.0 protocol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bgp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138.187.57.240/28 detai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ourier New" panose="02070309020205020404" pitchFamily="49" charset="0"/>
              <a:ea typeface="+mn-ea"/>
              <a:cs typeface="Courier New" panose="020703090202050204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60633:4103214024:138.187.57.240/28 (3 entries, 1 announced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*BGP    Preference: 170/-10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Route Distinguisher: 60633:41032140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Next hop type: Indirect, Next hop index: 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Address: 0x1526757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Next-hop reference count: 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Source: 138.187.57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Protocol next hop: 138.190.128.18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Label operation: Push 831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Label TTL action: prop-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ttl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ourier New" panose="02070309020205020404" pitchFamily="49" charset="0"/>
              <a:ea typeface="+mn-ea"/>
              <a:cs typeface="Courier New" panose="020703090202050204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Load balance label: Label 83118: None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Indirect next hop: 0x2 no-forward INH Session ID: 0x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State: &lt;Active Ext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rotectionPath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rotectionCand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&g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Local AS: 64088.1116 Peer AS: 6063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Age: 14:29:45   Metric: 800     Metric2: 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Validation State: unverifi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Resolving-AIGP: 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Effective metric: 8 (IGP metric plus resolving AIGP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Task: BGP_60633.138.187.57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Announcement bits (2): 0-BGP_RT_Background 1-BM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AS path: 60633 64088.1180 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Communities: 60633:204 60633:208 60633:1001 60633:1111 64497:4965 64499:13338 target:60633:110000631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Accept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BMP: Pre: advertise Station: DAISY_BMP_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BMP: Pre: advertise Station: DAISY_BMP_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                Color: VPN Label: 831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Localpref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: 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Router ID: 138.187.57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            Thread: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juno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-m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9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ourier New" panose="02070309020205020404" pitchFamily="49" charset="0"/>
              <a:ea typeface="+mn-ea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75014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024DC3B6-499C-4E15-9336-2F15A0DFB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7892" y="6361637"/>
            <a:ext cx="414251" cy="365125"/>
          </a:xfrm>
        </p:spPr>
        <p:txBody>
          <a:bodyPr/>
          <a:lstStyle/>
          <a:p>
            <a:fld id="{FC4AC485-25DE-431E-B345-9C0A15BB7F8A}" type="slidenum">
              <a:rPr lang="de-CH" sz="1400" smtClean="0"/>
              <a:t>8</a:t>
            </a:fld>
            <a:endParaRPr lang="de-CH" sz="1400" dirty="0"/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A48B1DB7-BCDC-5D18-F56D-8A1447F1B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2800" b="1" dirty="0"/>
              <a:t>Postmortem, L3 VPN Pilot Migration - Voice Over IP</a:t>
            </a:r>
            <a:br>
              <a:rPr lang="en-GB" sz="3600" dirty="0"/>
            </a:br>
            <a:r>
              <a:rPr lang="en-GB" sz="2800" dirty="0">
                <a:solidFill>
                  <a:schemeClr val="bg1">
                    <a:lumMod val="65000"/>
                  </a:schemeClr>
                </a:solidFill>
              </a:rPr>
              <a:t>D</a:t>
            </a:r>
            <a:r>
              <a:rPr lang="en-US" sz="2800" dirty="0" err="1">
                <a:solidFill>
                  <a:schemeClr val="bg1">
                    <a:lumMod val="65000"/>
                  </a:schemeClr>
                </a:solidFill>
              </a:rPr>
              <a:t>ata</a:t>
            </a:r>
            <a:r>
              <a:rPr lang="en-US" sz="2800" dirty="0">
                <a:solidFill>
                  <a:schemeClr val="bg1">
                    <a:lumMod val="65000"/>
                  </a:schemeClr>
                </a:solidFill>
              </a:rPr>
              <a:t> collection timestamp drove to wrong conclusion</a:t>
            </a:r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9D61CFC8-455E-F3AD-F115-C08399D2FB3F}"/>
              </a:ext>
            </a:extLst>
          </p:cNvPr>
          <p:cNvSpPr txBox="1">
            <a:spLocks/>
          </p:cNvSpPr>
          <p:nvPr/>
        </p:nvSpPr>
        <p:spPr bwMode="black">
          <a:xfrm>
            <a:off x="9902952" y="1682496"/>
            <a:ext cx="1706865" cy="272016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ecause BMP per-peer timestamp is optional, in the time series database ingestion, the data collection augmentation timestamp is used instead.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Leading to false conclusions when the state change was observed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C6F98D3-4061-4B0E-40E9-0238CE8D501C}"/>
              </a:ext>
            </a:extLst>
          </p:cNvPr>
          <p:cNvSpPr/>
          <p:nvPr/>
        </p:nvSpPr>
        <p:spPr>
          <a:xfrm>
            <a:off x="838200" y="1690688"/>
            <a:ext cx="3881504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"timestamp": "Tue Apr 09 2024 23:34:21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writer_i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: "bew03bmp45c 20240220-1 (45ae4201)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eer_i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: "138.190.128.117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00FFFF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"string": "Tue Apr 09 2024 23:52:34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00"/>
              </a:highlight>
              <a:uLnTx/>
              <a:uFillTx/>
              <a:latin typeface="Courier New" panose="02070309020205020404" pitchFamily="49" charset="0"/>
              <a:ea typeface="+mn-ea"/>
              <a:cs typeface="Courier New" panose="020703090202050204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timestamp": "Tue Apr 09 2024 23:34:21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writer_i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: "bew03bmp45c 20240220-1 (45ae4201)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eer_i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: "138.187.57.4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00FFFF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"string": "Tue Apr 09 2024 23:52:34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ourier New" panose="02070309020205020404" pitchFamily="49" charset="0"/>
              <a:ea typeface="+mn-ea"/>
              <a:cs typeface="Courier New" panose="020703090202050204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timestamp": "Tue Apr 09 2024 23:34:21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writer_i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: "bew03bmp45c 20240220-1 (45ae4201)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eer_i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: "138.187.57.3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00FFFF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"string": "Tue Apr 09 2024 23:52:34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"timestamp": "Tue Apr 09 2024 23:34:21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writer_i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: "bew03bmp45c 20240220-1 (45ae4201)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eer_i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: "138.190.128.117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00FFFF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"string": "Wed Apr 10 2024 01:04:00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ourier New" panose="02070309020205020404" pitchFamily="49" charset="0"/>
              <a:ea typeface="+mn-ea"/>
              <a:cs typeface="Courier New" panose="020703090202050204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timestamp": "Tue Apr 09 2024 23:34:21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writer_i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: "zoi03bmp45c 20240220-1 (45ae4201)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eer_i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: "138.187.57.3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00FFFF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"string": "Tue Apr 09 2024 23:54:09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ourier New" panose="02070309020205020404" pitchFamily="49" charset="0"/>
              <a:ea typeface="+mn-ea"/>
              <a:cs typeface="Courier New" panose="020703090202050204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timestamp": "Tue Apr 09 2024 23:34:21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writer_i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: "zoi03bmp45c 20240220-1 (45ae4201)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eer_i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: "138.187.57.4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00FFFF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"string": "Tue Apr 09 2024 23:54:17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ourier New" panose="02070309020205020404" pitchFamily="49" charset="0"/>
              <a:ea typeface="+mn-ea"/>
              <a:cs typeface="Courier New" panose="020703090202050204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timestamp": "Tue Apr 09 2024 23:34:21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writer_i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: "zoi03bmp45c 20240220-1 (45ae4201)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eer_i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: "138.190.128.117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00FFFF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"string": "Tue Apr 09 2024 23:54:24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"timestamp": "Tue Apr 09 2024 23:34:21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writer_i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: "zoi03bmp45c 20240220-1 (45ae4201)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"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peer_i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": "138.190.128.117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00FFFF"/>
                </a:highlight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   "string": "Wed Apr 10 2024 00:54:51"</a:t>
            </a: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00FFFF"/>
              </a:highlight>
              <a:uLnTx/>
              <a:uFillTx/>
              <a:latin typeface="Courier New" panose="02070309020205020404" pitchFamily="49" charset="0"/>
              <a:ea typeface="+mn-ea"/>
              <a:cs typeface="Courier New" panose="02070309020205020404" pitchFamily="49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F19F707-B2A2-2A16-6A03-E73BE59795EE}"/>
              </a:ext>
            </a:extLst>
          </p:cNvPr>
          <p:cNvSpPr/>
          <p:nvPr/>
        </p:nvSpPr>
        <p:spPr>
          <a:xfrm>
            <a:off x="4809038" y="1695677"/>
            <a:ext cx="388150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TheSans Swisscom Light"/>
                <a:ea typeface="+mn-ea"/>
                <a:cs typeface="Courier New" panose="02070309020205020404" pitchFamily="49" charset="0"/>
              </a:rPr>
              <a:t>The yellow marked timestamp shows the optional BMP per-peer header observation timestamp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00"/>
              </a:highlight>
              <a:uLnTx/>
              <a:uFillTx/>
              <a:latin typeface="TheSans Swisscom Light"/>
              <a:ea typeface="+mn-ea"/>
              <a:cs typeface="Courier New" panose="020703090202050204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00FFFF"/>
                </a:highlight>
                <a:uLnTx/>
                <a:uFillTx/>
                <a:latin typeface="TheSans Swisscom Light"/>
                <a:ea typeface="+mn-ea"/>
                <a:cs typeface="Courier New" panose="02070309020205020404" pitchFamily="49" charset="0"/>
              </a:rPr>
              <a:t>The blue marked timestamp shows the timestamp being augmented on the BMP data collection and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00FFFF"/>
                </a:highlight>
                <a:uLnTx/>
                <a:uFillTx/>
                <a:latin typeface="TheSans Swisscom Light"/>
                <a:ea typeface="+mn-ea"/>
                <a:cs typeface="Courier New" panose="02070309020205020404" pitchFamily="49" charset="0"/>
              </a:rPr>
              <a:t>being used for the time series database. </a:t>
            </a:r>
            <a:endParaRPr kumimoji="0" lang="de-CH" sz="135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highlight>
                <a:srgbClr val="00FFFF"/>
              </a:highlight>
              <a:uLnTx/>
              <a:uFillTx/>
              <a:latin typeface="TheSans Swisscom Light"/>
              <a:ea typeface="+mn-ea"/>
              <a:cs typeface="Courier New" panose="02070309020205020404" pitchFamily="49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A7921E7-2525-34FB-6841-B5F01DECFE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92916" y="1714589"/>
            <a:ext cx="525183" cy="525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0874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024DC3B6-499C-4E15-9336-2F15A0DFB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7892" y="6361637"/>
            <a:ext cx="414251" cy="365125"/>
          </a:xfrm>
        </p:spPr>
        <p:txBody>
          <a:bodyPr/>
          <a:lstStyle/>
          <a:p>
            <a:fld id="{FC4AC485-25DE-431E-B345-9C0A15BB7F8A}" type="slidenum">
              <a:rPr lang="de-CH" sz="1400" smtClean="0"/>
              <a:t>9</a:t>
            </a:fld>
            <a:endParaRPr lang="de-CH" sz="1400" dirty="0"/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A48B1DB7-BCDC-5D18-F56D-8A1447F1B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2800" b="1" dirty="0"/>
              <a:t>Postmortem, L3 VPN Pilot Migration - Voice Over IP</a:t>
            </a:r>
            <a:br>
              <a:rPr lang="en-GB" sz="3600" dirty="0"/>
            </a:br>
            <a:r>
              <a:rPr lang="en-US" sz="2800" b="0" dirty="0">
                <a:solidFill>
                  <a:schemeClr val="bg1">
                    <a:lumMod val="65000"/>
                  </a:schemeClr>
                </a:solidFill>
              </a:rPr>
              <a:t>Route-Reflector Peering and L3 VPN Traffic View</a:t>
            </a:r>
            <a:endParaRPr lang="en-US" sz="27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477E3269-AE0B-75EF-0438-609ED261D5F5}"/>
              </a:ext>
            </a:extLst>
          </p:cNvPr>
          <p:cNvSpPr txBox="1">
            <a:spLocks/>
          </p:cNvSpPr>
          <p:nvPr/>
        </p:nvSpPr>
        <p:spPr bwMode="black">
          <a:xfrm>
            <a:off x="9900281" y="1681163"/>
            <a:ext cx="1824993" cy="315399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PFIX configured on PE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ut not on involved MPLS Inter-AS option B ASBR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due to PR1567039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ADJ-RIB In pre-policy on BGP VPNv4 /6 on MPLS PE's. BMP ADJ-RIB In pre-policy on BGP VPNv4 /6 on Route Reflectors and BMP ADJ-RIB In pre-policy and ADJ-RIB Out post-policy on Inter-AS Option B ASBR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YANG Push on most nodes but not relevant for this use case.</a:t>
            </a: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54154485-B928-B492-B0BF-0F2B48285B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79124" y="3058389"/>
            <a:ext cx="409069" cy="409069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2B0ED05A-090F-1833-44DF-BB03C2D980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379124" y="5580908"/>
            <a:ext cx="410400" cy="4104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5BF30A0-2EDE-D753-5071-EAC623851B2A}"/>
              </a:ext>
            </a:extLst>
          </p:cNvPr>
          <p:cNvSpPr/>
          <p:nvPr/>
        </p:nvSpPr>
        <p:spPr>
          <a:xfrm>
            <a:off x="2562225" y="3837023"/>
            <a:ext cx="365992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Peering Statistics on Route Reflector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016D5FB-2A70-8FB0-B62D-016BEC79DF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92916" y="1714589"/>
            <a:ext cx="525183" cy="52518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3FBDF35-349F-4A69-857C-9D3F5A1A82D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66304" y="1714589"/>
            <a:ext cx="3555842" cy="200016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B63D1CC-F8AF-E563-C0E8-E96F4B90A8F1}"/>
              </a:ext>
            </a:extLst>
          </p:cNvPr>
          <p:cNvSpPr/>
          <p:nvPr/>
        </p:nvSpPr>
        <p:spPr>
          <a:xfrm>
            <a:off x="942278" y="6260357"/>
            <a:ext cx="741114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raffic to Voice over IP Service on affected L3 VP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2E6EE8-E200-90CF-5E2F-040788DDDF2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2279" y="4337683"/>
            <a:ext cx="7411146" cy="1830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3676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YfMyCJfkeJ7zPCYZol5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YfMyCJfkeJ7zPCYZol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2e1fccfb-80ca-4fe1-a574-1516544edb53}" enabled="1" method="Standard" siteId="{364e5b87-c1c7-420d-9bee-c35d19b557a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61</Words>
  <Application>Microsoft Office PowerPoint</Application>
  <PresentationFormat>Widescreen</PresentationFormat>
  <Paragraphs>249</Paragraphs>
  <Slides>13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Calibri</vt:lpstr>
      <vt:lpstr>Calibri Light</vt:lpstr>
      <vt:lpstr>Courier New</vt:lpstr>
      <vt:lpstr>TheSans Swisscom</vt:lpstr>
      <vt:lpstr>TheSans Swisscom Light</vt:lpstr>
      <vt:lpstr>Wingdings</vt:lpstr>
      <vt:lpstr>Office Theme</vt:lpstr>
      <vt:lpstr>PowerPoint Presentation</vt:lpstr>
      <vt:lpstr>Data Mesh organizes Data in Organizations Enables Network Analytics use cases</vt:lpstr>
      <vt:lpstr>What to monitor Which metrics are collected</vt:lpstr>
      <vt:lpstr>Example: Monitoring L3 VPN's with IPFIX, BMP and YANG Push From Connectivity Service to Realtime Network Analytics</vt:lpstr>
      <vt:lpstr>What does Network Anomaly Detection mean Monitor changes, called outliers, in networks</vt:lpstr>
      <vt:lpstr>Postmortem, L3 VPN Pilot Migration - Voice Over IP Post Maintenance Window Analysis</vt:lpstr>
      <vt:lpstr>Postmortem, L3 VPN Pilot Migration - Voice Over IP Show command drove to wrong conclusion</vt:lpstr>
      <vt:lpstr>Postmortem, L3 VPN Pilot Migration - Voice Over IP Data collection timestamp drove to wrong conclusion</vt:lpstr>
      <vt:lpstr>Postmortem, L3 VPN Pilot Migration - Voice Over IP Route-Reflector Peering and L3 VPN Traffic View</vt:lpstr>
      <vt:lpstr>Postmortem, L3 VPN Pilot Migration - Voice Over IP 64497:4965 - Anomaly Detection - Live</vt:lpstr>
      <vt:lpstr>PowerPoint Presentation</vt:lpstr>
      <vt:lpstr>Swisscom - Cosmos Bright Lights PoC Summary After 20 Incidents and 18 Months Time</vt:lpstr>
      <vt:lpstr>Swisscom - Cosmos Bright Lights PoC Detail Multiple Perspectives increases Accurac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 Präsentation</dc:title>
  <dc:creator>Graf Thomas, INI-ONE-WSN-DCF</dc:creator>
  <cp:lastModifiedBy>Graf Thomas, INI-NET-VNC-HCS</cp:lastModifiedBy>
  <cp:revision>283</cp:revision>
  <dcterms:created xsi:type="dcterms:W3CDTF">2019-11-29T14:22:02Z</dcterms:created>
  <dcterms:modified xsi:type="dcterms:W3CDTF">2024-09-06T06:5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e1fccfb-80ca-4fe1-a574-1516544edb53_Enabled">
    <vt:lpwstr>true</vt:lpwstr>
  </property>
  <property fmtid="{D5CDD505-2E9C-101B-9397-08002B2CF9AE}" pid="3" name="MSIP_Label_2e1fccfb-80ca-4fe1-a574-1516544edb53_SetDate">
    <vt:lpwstr>2023-03-20T10:46:29Z</vt:lpwstr>
  </property>
  <property fmtid="{D5CDD505-2E9C-101B-9397-08002B2CF9AE}" pid="4" name="MSIP_Label_2e1fccfb-80ca-4fe1-a574-1516544edb53_Method">
    <vt:lpwstr>Standard</vt:lpwstr>
  </property>
  <property fmtid="{D5CDD505-2E9C-101B-9397-08002B2CF9AE}" pid="5" name="MSIP_Label_2e1fccfb-80ca-4fe1-a574-1516544edb53_Name">
    <vt:lpwstr>C2 Internal</vt:lpwstr>
  </property>
  <property fmtid="{D5CDD505-2E9C-101B-9397-08002B2CF9AE}" pid="6" name="MSIP_Label_2e1fccfb-80ca-4fe1-a574-1516544edb53_SiteId">
    <vt:lpwstr>364e5b87-c1c7-420d-9bee-c35d19b557a1</vt:lpwstr>
  </property>
  <property fmtid="{D5CDD505-2E9C-101B-9397-08002B2CF9AE}" pid="7" name="MSIP_Label_2e1fccfb-80ca-4fe1-a574-1516544edb53_ActionId">
    <vt:lpwstr>f20e7325-fc30-45a7-a02f-991797c0d813</vt:lpwstr>
  </property>
  <property fmtid="{D5CDD505-2E9C-101B-9397-08002B2CF9AE}" pid="8" name="MSIP_Label_2e1fccfb-80ca-4fe1-a574-1516544edb53_ContentBits">
    <vt:lpwstr>0</vt:lpwstr>
  </property>
  <property fmtid="{D5CDD505-2E9C-101B-9397-08002B2CF9AE}" pid="9" name="Sensitivity">
    <vt:lpwstr>C2 General</vt:lpwstr>
  </property>
</Properties>
</file>